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sldIdLst>
    <p:sldId id="257" r:id="rId2"/>
    <p:sldId id="260" r:id="rId3"/>
    <p:sldId id="278" r:id="rId4"/>
    <p:sldId id="261" r:id="rId5"/>
    <p:sldId id="279" r:id="rId6"/>
    <p:sldId id="280" r:id="rId7"/>
    <p:sldId id="281" r:id="rId8"/>
    <p:sldId id="284" r:id="rId9"/>
    <p:sldId id="285" r:id="rId10"/>
    <p:sldId id="287" r:id="rId11"/>
    <p:sldId id="288" r:id="rId12"/>
    <p:sldId id="290" r:id="rId13"/>
    <p:sldId id="286" r:id="rId14"/>
    <p:sldId id="292" r:id="rId15"/>
    <p:sldId id="291" r:id="rId16"/>
    <p:sldId id="293" r:id="rId17"/>
    <p:sldId id="295" r:id="rId18"/>
    <p:sldId id="294" r:id="rId19"/>
    <p:sldId id="296" r:id="rId20"/>
  </p:sldIdLst>
  <p:sldSz cx="9144000" cy="6858000" type="screen4x3"/>
  <p:notesSz cx="7099300" cy="1023461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29">
          <p15:clr>
            <a:srgbClr val="A4A3A4"/>
          </p15:clr>
        </p15:guide>
        <p15:guide id="2" orient="horz" pos="255">
          <p15:clr>
            <a:srgbClr val="A4A3A4"/>
          </p15:clr>
        </p15:guide>
        <p15:guide id="3" orient="horz" pos="958">
          <p15:clr>
            <a:srgbClr val="A4A3A4"/>
          </p15:clr>
        </p15:guide>
        <p15:guide id="4" orient="horz" pos="4065">
          <p15:clr>
            <a:srgbClr val="A4A3A4"/>
          </p15:clr>
        </p15:guide>
        <p15:guide id="5" orient="horz" pos="4110">
          <p15:clr>
            <a:srgbClr val="A4A3A4"/>
          </p15:clr>
        </p15:guide>
        <p15:guide id="6" orient="horz" pos="142">
          <p15:clr>
            <a:srgbClr val="A4A3A4"/>
          </p15:clr>
        </p15:guide>
        <p15:guide id="7" orient="horz" pos="4178">
          <p15:clr>
            <a:srgbClr val="A4A3A4"/>
          </p15:clr>
        </p15:guide>
        <p15:guide id="8" pos="272">
          <p15:clr>
            <a:srgbClr val="A4A3A4"/>
          </p15:clr>
        </p15:guide>
        <p15:guide id="9" pos="5488">
          <p15:clr>
            <a:srgbClr val="A4A3A4"/>
          </p15:clr>
        </p15:guide>
        <p15:guide id="10" pos="2880">
          <p15:clr>
            <a:srgbClr val="A4A3A4"/>
          </p15:clr>
        </p15:guide>
        <p15:guide id="11" pos="2835">
          <p15:clr>
            <a:srgbClr val="A4A3A4"/>
          </p15:clr>
        </p15:guide>
        <p15:guide id="12" pos="2925">
          <p15:clr>
            <a:srgbClr val="A4A3A4"/>
          </p15:clr>
        </p15:guide>
        <p15:guide id="13" pos="3288">
          <p15:clr>
            <a:srgbClr val="A4A3A4"/>
          </p15:clr>
        </p15:guide>
        <p15:guide id="14" pos="3379">
          <p15:clr>
            <a:srgbClr val="A4A3A4"/>
          </p15:clr>
        </p15:guide>
        <p15:guide id="15" pos="3719">
          <p15:clr>
            <a:srgbClr val="A4A3A4"/>
          </p15:clr>
        </p15:guide>
        <p15:guide id="16" pos="3810">
          <p15:clr>
            <a:srgbClr val="A4A3A4"/>
          </p15:clr>
        </p15:guide>
        <p15:guide id="17" pos="4173">
          <p15:clr>
            <a:srgbClr val="A4A3A4"/>
          </p15:clr>
        </p15:guide>
        <p15:guide id="18" pos="4263">
          <p15:clr>
            <a:srgbClr val="A4A3A4"/>
          </p15:clr>
        </p15:guide>
        <p15:guide id="19" pos="4604">
          <p15:clr>
            <a:srgbClr val="A4A3A4"/>
          </p15:clr>
        </p15:guide>
        <p15:guide id="20" pos="4694">
          <p15:clr>
            <a:srgbClr val="A4A3A4"/>
          </p15:clr>
        </p15:guide>
        <p15:guide id="21" pos="5057">
          <p15:clr>
            <a:srgbClr val="A4A3A4"/>
          </p15:clr>
        </p15:guide>
        <p15:guide id="22" pos="5148">
          <p15:clr>
            <a:srgbClr val="A4A3A4"/>
          </p15:clr>
        </p15:guide>
        <p15:guide id="23" pos="2472">
          <p15:clr>
            <a:srgbClr val="A4A3A4"/>
          </p15:clr>
        </p15:guide>
        <p15:guide id="24" pos="2381">
          <p15:clr>
            <a:srgbClr val="A4A3A4"/>
          </p15:clr>
        </p15:guide>
        <p15:guide id="25" pos="2041">
          <p15:clr>
            <a:srgbClr val="A4A3A4"/>
          </p15:clr>
        </p15:guide>
        <p15:guide id="26" pos="1950">
          <p15:clr>
            <a:srgbClr val="A4A3A4"/>
          </p15:clr>
        </p15:guide>
        <p15:guide id="27" pos="1587">
          <p15:clr>
            <a:srgbClr val="A4A3A4"/>
          </p15:clr>
        </p15:guide>
        <p15:guide id="28" pos="1497">
          <p15:clr>
            <a:srgbClr val="A4A3A4"/>
          </p15:clr>
        </p15:guide>
        <p15:guide id="29" pos="1156">
          <p15:clr>
            <a:srgbClr val="A4A3A4"/>
          </p15:clr>
        </p15:guide>
        <p15:guide id="30" pos="1066">
          <p15:clr>
            <a:srgbClr val="A4A3A4"/>
          </p15:clr>
        </p15:guide>
        <p15:guide id="31" pos="703">
          <p15:clr>
            <a:srgbClr val="A4A3A4"/>
          </p15:clr>
        </p15:guide>
        <p15:guide id="32" pos="612">
          <p15:clr>
            <a:srgbClr val="A4A3A4"/>
          </p15:clr>
        </p15:guide>
        <p15:guide id="33" pos="136">
          <p15:clr>
            <a:srgbClr val="A4A3A4"/>
          </p15:clr>
        </p15:guide>
        <p15:guide id="34" pos="562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000000"/>
    <a:srgbClr val="006E6E"/>
    <a:srgbClr val="BEC3C8"/>
    <a:srgbClr val="EB829B"/>
    <a:srgbClr val="D20537"/>
    <a:srgbClr val="8C9196"/>
    <a:srgbClr val="2D373C"/>
    <a:srgbClr val="1EA5A5"/>
    <a:srgbClr val="A5D7D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E25E649-3F16-4E02-A733-19D2CDBF48F0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6" autoAdjust="0"/>
    <p:restoredTop sz="90569" autoAdjust="0"/>
  </p:normalViewPr>
  <p:slideViewPr>
    <p:cSldViewPr showGuides="1">
      <p:cViewPr varScale="1">
        <p:scale>
          <a:sx n="89" d="100"/>
          <a:sy n="89" d="100"/>
        </p:scale>
        <p:origin x="1660" y="48"/>
      </p:cViewPr>
      <p:guideLst>
        <p:guide orient="horz" pos="3929"/>
        <p:guide orient="horz" pos="255"/>
        <p:guide orient="horz" pos="958"/>
        <p:guide orient="horz" pos="4065"/>
        <p:guide orient="horz" pos="4110"/>
        <p:guide orient="horz" pos="142"/>
        <p:guide orient="horz" pos="4178"/>
        <p:guide pos="272"/>
        <p:guide pos="5488"/>
        <p:guide pos="2880"/>
        <p:guide pos="2835"/>
        <p:guide pos="2925"/>
        <p:guide pos="3288"/>
        <p:guide pos="3379"/>
        <p:guide pos="3719"/>
        <p:guide pos="3810"/>
        <p:guide pos="4173"/>
        <p:guide pos="4263"/>
        <p:guide pos="4604"/>
        <p:guide pos="4694"/>
        <p:guide pos="5057"/>
        <p:guide pos="5148"/>
        <p:guide pos="2472"/>
        <p:guide pos="2381"/>
        <p:guide pos="2041"/>
        <p:guide pos="1950"/>
        <p:guide pos="1587"/>
        <p:guide pos="1497"/>
        <p:guide pos="1156"/>
        <p:guide pos="1066"/>
        <p:guide pos="703"/>
        <p:guide pos="612"/>
        <p:guide pos="136"/>
        <p:guide pos="562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484FEB8E-57CB-43C0-BEF7-4F4116A5252C}" type="datetimeFigureOut">
              <a:rPr lang="de-CH" smtClean="0"/>
              <a:t>27.11.2017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DA53D58F-CC03-47C4-AC79-D3C984A61519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7838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twicklung der jährlichen Renditen (Durchschnittliche Jahresrendite) von 19 verschiedenen Schweizer Aktien von 2003 bis 2015.</a:t>
            </a:r>
            <a:endParaRPr lang="de-CH" dirty="0" smtClean="0"/>
          </a:p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3D58F-CC03-47C4-AC79-D3C984A61519}" type="slidenum">
              <a:rPr lang="de-CH" smtClean="0"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073098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0" y="225423"/>
            <a:ext cx="8928100" cy="489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 err="1" smtClean="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393" y="369229"/>
            <a:ext cx="1588313" cy="568757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71550" y="1376363"/>
            <a:ext cx="7772400" cy="1044526"/>
          </a:xfrm>
        </p:spPr>
        <p:txBody>
          <a:bodyPr/>
          <a:lstStyle>
            <a:lvl1pPr>
              <a:lnSpc>
                <a:spcPts val="4000"/>
              </a:lnSpc>
              <a:defRPr sz="3600"/>
            </a:lvl1pPr>
          </a:lstStyle>
          <a:p>
            <a:r>
              <a:rPr lang="de-DE" smtClean="0"/>
              <a:t>Titelmasterformat durch Klicken bearbeiten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971550" y="2564904"/>
            <a:ext cx="6800850" cy="324036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err="1" smtClean="0"/>
              <a:t>Autor</a:t>
            </a:r>
            <a:r>
              <a:rPr lang="en-GB" dirty="0" smtClean="0"/>
              <a:t>, DD.MM.Y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06751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Risk is not just perceived as variance, Hoffart, Jarecki, Rieskamp, 21. Nov 2017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GB" smtClean="0"/>
              <a:t>University of Basel</a:t>
            </a:r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8347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0" y="225425"/>
            <a:ext cx="8928100" cy="27717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71550" y="1376363"/>
            <a:ext cx="7772400" cy="1044526"/>
          </a:xfrm>
        </p:spPr>
        <p:txBody>
          <a:bodyPr/>
          <a:lstStyle>
            <a:lvl1pPr>
              <a:lnSpc>
                <a:spcPts val="4000"/>
              </a:lnSpc>
              <a:defRPr sz="3600"/>
            </a:lvl1pPr>
          </a:lstStyle>
          <a:p>
            <a:r>
              <a:rPr lang="de-DE" smtClean="0"/>
              <a:t>Titelmasterformat durch Klicken bearbeiten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971550" y="2564904"/>
            <a:ext cx="6800850" cy="324036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err="1" smtClean="0"/>
              <a:t>Autor</a:t>
            </a:r>
            <a:r>
              <a:rPr lang="en-GB" dirty="0" smtClean="0"/>
              <a:t>, DD.MM.YY</a:t>
            </a:r>
            <a:endParaRPr lang="en-GB" dirty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0"/>
          </p:nvPr>
        </p:nvSpPr>
        <p:spPr>
          <a:xfrm>
            <a:off x="215900" y="2997200"/>
            <a:ext cx="8712200" cy="3635375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GB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393" y="369229"/>
            <a:ext cx="1588313" cy="568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24098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ts val="2200"/>
              </a:lnSpc>
              <a:defRPr/>
            </a:lvl1pPr>
            <a:lvl2pPr>
              <a:lnSpc>
                <a:spcPts val="2200"/>
              </a:lnSpc>
              <a:defRPr/>
            </a:lvl2pPr>
            <a:lvl3pPr>
              <a:lnSpc>
                <a:spcPts val="2200"/>
              </a:lnSpc>
              <a:defRPr/>
            </a:lvl3pPr>
            <a:lvl4pPr>
              <a:lnSpc>
                <a:spcPts val="2200"/>
              </a:lnSpc>
              <a:defRPr/>
            </a:lvl4pPr>
            <a:lvl5pPr>
              <a:lnSpc>
                <a:spcPts val="2200"/>
              </a:lnSpc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Risk is not just perceived as variance, Hoffart, Jarecki, Rieskamp, 21. Nov 2017</a:t>
            </a:r>
            <a:endParaRPr lang="en-GB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GB" smtClean="0"/>
              <a:t>University of Basel</a:t>
            </a:r>
            <a:endParaRPr lang="en-GB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16853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Le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Risk is not just perceived as variance, Hoffart, Jarecki, Rieskamp, 21. Nov 2017</a:t>
            </a:r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GB" smtClean="0"/>
              <a:t>University of Basel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431800" y="1520824"/>
            <a:ext cx="6192838" cy="39600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GB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6767513" y="1520825"/>
            <a:ext cx="1944687" cy="471646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5345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Risk is not just perceived as variance, Hoffart, Jarecki, Rieskamp, 21. Nov 2017</a:t>
            </a:r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GB" smtClean="0"/>
              <a:t>University of Basel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431799" y="1520824"/>
            <a:ext cx="4068763" cy="25920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GB" dirty="0"/>
          </a:p>
        </p:txBody>
      </p:sp>
      <p:sp>
        <p:nvSpPr>
          <p:cNvPr id="8" name="Bildplatzhalter 6"/>
          <p:cNvSpPr>
            <a:spLocks noGrp="1"/>
          </p:cNvSpPr>
          <p:nvPr>
            <p:ph type="pic" sz="quarter" idx="14"/>
          </p:nvPr>
        </p:nvSpPr>
        <p:spPr>
          <a:xfrm>
            <a:off x="4643437" y="1520825"/>
            <a:ext cx="4068763" cy="25920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GB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5"/>
          </p:nvPr>
        </p:nvSpPr>
        <p:spPr>
          <a:xfrm>
            <a:off x="431800" y="4221088"/>
            <a:ext cx="4068763" cy="183618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 dirty="0"/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6"/>
          </p:nvPr>
        </p:nvSpPr>
        <p:spPr>
          <a:xfrm>
            <a:off x="4643437" y="4221088"/>
            <a:ext cx="4068763" cy="183618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3590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Risk is not just perceived as variance, Hoffart, Jarecki, Rieskamp, 21. Nov 2017</a:t>
            </a:r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GB" smtClean="0"/>
              <a:t>University of Basel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431800" y="1520824"/>
            <a:ext cx="2663826" cy="32760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GB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5"/>
          </p:nvPr>
        </p:nvSpPr>
        <p:spPr>
          <a:xfrm>
            <a:off x="431800" y="4901714"/>
            <a:ext cx="2663825" cy="115555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 dirty="0"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6"/>
          </p:nvPr>
        </p:nvSpPr>
        <p:spPr>
          <a:xfrm>
            <a:off x="3240088" y="1520825"/>
            <a:ext cx="2663826" cy="32760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GB" dirty="0"/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7"/>
          </p:nvPr>
        </p:nvSpPr>
        <p:spPr>
          <a:xfrm>
            <a:off x="3240088" y="4901715"/>
            <a:ext cx="2663825" cy="115555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 dirty="0"/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8"/>
          </p:nvPr>
        </p:nvSpPr>
        <p:spPr>
          <a:xfrm>
            <a:off x="6048374" y="1524273"/>
            <a:ext cx="2663826" cy="32760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GB" dirty="0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9"/>
          </p:nvPr>
        </p:nvSpPr>
        <p:spPr>
          <a:xfrm>
            <a:off x="6048374" y="4905163"/>
            <a:ext cx="2663825" cy="115555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50543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(gro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Risk is not just perceived as variance, Hoffart, Jarecki, Rieskamp, 21. Nov 2017</a:t>
            </a:r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GB" smtClean="0"/>
              <a:t>University of Basel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431800" y="404813"/>
            <a:ext cx="8280400" cy="51120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GB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431801" y="5625244"/>
            <a:ext cx="8280400" cy="61204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12460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(Vollfläch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68580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52805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Risk is not just perceived as variance, Hoffart, Jarecki, Rieskamp, 21. Nov 2017</a:t>
            </a:r>
            <a:endParaRPr lang="en-GB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GB" smtClean="0"/>
              <a:t>University of Basel</a:t>
            </a:r>
            <a:endParaRPr lang="en-GB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324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31800" y="404813"/>
            <a:ext cx="8280400" cy="7559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 err="1" smtClean="0"/>
              <a:t>Titelmasterformat</a:t>
            </a:r>
            <a:r>
              <a:rPr lang="en-GB" dirty="0" smtClean="0"/>
              <a:t> </a:t>
            </a:r>
            <a:r>
              <a:rPr lang="en-GB" dirty="0" err="1" smtClean="0"/>
              <a:t>durch</a:t>
            </a:r>
            <a:r>
              <a:rPr lang="en-GB" dirty="0" smtClean="0"/>
              <a:t> </a:t>
            </a:r>
            <a:r>
              <a:rPr lang="en-GB" dirty="0" err="1" smtClean="0"/>
              <a:t>Klicken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32000" y="1520826"/>
            <a:ext cx="82802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 err="1" smtClean="0"/>
              <a:t>Textmaster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 smtClean="0"/>
          </a:p>
          <a:p>
            <a:pPr lvl="1"/>
            <a:r>
              <a:rPr lang="en-GB" dirty="0" err="1" smtClean="0"/>
              <a:t>Zwei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2"/>
            <a:r>
              <a:rPr lang="en-GB" dirty="0" err="1" smtClean="0"/>
              <a:t>Drit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3"/>
            <a:r>
              <a:rPr lang="en-GB" dirty="0" err="1" smtClean="0"/>
              <a:t>Vier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4"/>
            <a:r>
              <a:rPr lang="en-GB" dirty="0" err="1" smtClean="0"/>
              <a:t>Fünf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31800" y="6524626"/>
            <a:ext cx="2159000" cy="180000"/>
          </a:xfrm>
          <a:prstGeom prst="rect">
            <a:avLst/>
          </a:prstGeom>
        </p:spPr>
        <p:txBody>
          <a:bodyPr vert="horz" lIns="0" tIns="21600" rIns="0" bIns="0" rtlCol="0" anchor="t" anchorCtr="0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Risk is not just perceived as variance, Hoffart, Jarecki, Rieskamp, 21. Nov 2017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660232" y="6525344"/>
            <a:ext cx="1908212" cy="180000"/>
          </a:xfrm>
          <a:prstGeom prst="rect">
            <a:avLst/>
          </a:prstGeom>
        </p:spPr>
        <p:txBody>
          <a:bodyPr vert="horz" lIns="0" tIns="21600" rIns="0" bIns="0" rtlCol="0" anchor="t" anchorCtr="0"/>
          <a:lstStyle>
            <a:lvl1pPr algn="ctr">
              <a:defRPr sz="600" b="1">
                <a:solidFill>
                  <a:schemeClr val="tx1"/>
                </a:solidFill>
              </a:defRPr>
            </a:lvl1pPr>
          </a:lstStyle>
          <a:p>
            <a:pPr algn="r"/>
            <a:r>
              <a:rPr lang="en-GB" smtClean="0"/>
              <a:t>University of Basel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568444" y="6525344"/>
            <a:ext cx="143756" cy="180000"/>
          </a:xfrm>
          <a:prstGeom prst="rect">
            <a:avLst/>
          </a:prstGeom>
        </p:spPr>
        <p:txBody>
          <a:bodyPr vert="horz" lIns="0" tIns="21600" rIns="0" bIns="0" rtlCol="0" anchor="t" anchorCtr="0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fld id="{B3811826-9277-4232-A2B5-17D05DFC7392}" type="slidenum">
              <a:rPr lang="en-GB" smtClean="0"/>
              <a:pPr/>
              <a:t>‹Nr.›</a:t>
            </a:fld>
            <a:endParaRPr lang="en-GB" dirty="0"/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432000" y="6453188"/>
            <a:ext cx="82802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5073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0" r:id="rId3"/>
    <p:sldLayoutId id="2147483657" r:id="rId4"/>
    <p:sldLayoutId id="2147483658" r:id="rId5"/>
    <p:sldLayoutId id="2147483659" r:id="rId6"/>
    <p:sldLayoutId id="2147483660" r:id="rId7"/>
    <p:sldLayoutId id="2147483661" r:id="rId8"/>
    <p:sldLayoutId id="2147483654" r:id="rId9"/>
    <p:sldLayoutId id="2147483655" r:id="rId10"/>
  </p:sldLayoutIdLst>
  <p:hf hd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3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21" Type="http://schemas.openxmlformats.org/officeDocument/2006/relationships/tags" Target="../tags/tag21.xml"/><Relationship Id="rId63" Type="http://schemas.openxmlformats.org/officeDocument/2006/relationships/tags" Target="../tags/tag63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226" Type="http://schemas.openxmlformats.org/officeDocument/2006/relationships/tags" Target="../tags/tag226.xml"/><Relationship Id="rId268" Type="http://schemas.openxmlformats.org/officeDocument/2006/relationships/tags" Target="../tags/tag268.xml"/><Relationship Id="rId32" Type="http://schemas.openxmlformats.org/officeDocument/2006/relationships/tags" Target="../tags/tag32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335" Type="http://schemas.openxmlformats.org/officeDocument/2006/relationships/tags" Target="../tags/tag335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181" Type="http://schemas.openxmlformats.org/officeDocument/2006/relationships/tags" Target="../tags/tag181.xml"/><Relationship Id="rId237" Type="http://schemas.openxmlformats.org/officeDocument/2006/relationships/tags" Target="../tags/tag237.xml"/><Relationship Id="rId279" Type="http://schemas.openxmlformats.org/officeDocument/2006/relationships/tags" Target="../tags/tag279.xml"/><Relationship Id="rId43" Type="http://schemas.openxmlformats.org/officeDocument/2006/relationships/tags" Target="../tags/tag43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46" Type="http://schemas.openxmlformats.org/officeDocument/2006/relationships/tags" Target="../tags/tag346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48" Type="http://schemas.openxmlformats.org/officeDocument/2006/relationships/tags" Target="../tags/tag248.xml"/><Relationship Id="rId12" Type="http://schemas.openxmlformats.org/officeDocument/2006/relationships/tags" Target="../tags/tag12.xml"/><Relationship Id="rId108" Type="http://schemas.openxmlformats.org/officeDocument/2006/relationships/tags" Target="../tags/tag108.xml"/><Relationship Id="rId315" Type="http://schemas.openxmlformats.org/officeDocument/2006/relationships/tags" Target="../tags/tag315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96" Type="http://schemas.openxmlformats.org/officeDocument/2006/relationships/tags" Target="../tags/tag96.xml"/><Relationship Id="rId161" Type="http://schemas.openxmlformats.org/officeDocument/2006/relationships/tags" Target="../tags/tag161.xml"/><Relationship Id="rId217" Type="http://schemas.openxmlformats.org/officeDocument/2006/relationships/tags" Target="../tags/tag217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326" Type="http://schemas.openxmlformats.org/officeDocument/2006/relationships/tags" Target="../tags/tag326.xml"/><Relationship Id="rId65" Type="http://schemas.openxmlformats.org/officeDocument/2006/relationships/tags" Target="../tags/tag65.xml"/><Relationship Id="rId130" Type="http://schemas.openxmlformats.org/officeDocument/2006/relationships/tags" Target="../tags/tag130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228" Type="http://schemas.openxmlformats.org/officeDocument/2006/relationships/tags" Target="../tags/tag228.xml"/><Relationship Id="rId281" Type="http://schemas.openxmlformats.org/officeDocument/2006/relationships/tags" Target="../tags/tag281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76" Type="http://schemas.openxmlformats.org/officeDocument/2006/relationships/tags" Target="../tags/tag76.xml"/><Relationship Id="rId141" Type="http://schemas.openxmlformats.org/officeDocument/2006/relationships/tags" Target="../tags/tag141.xml"/><Relationship Id="rId379" Type="http://schemas.openxmlformats.org/officeDocument/2006/relationships/slideLayout" Target="../slideLayouts/slideLayout9.xml"/><Relationship Id="rId7" Type="http://schemas.openxmlformats.org/officeDocument/2006/relationships/tags" Target="../tags/tag7.xml"/><Relationship Id="rId183" Type="http://schemas.openxmlformats.org/officeDocument/2006/relationships/tags" Target="../tags/tag183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45" Type="http://schemas.openxmlformats.org/officeDocument/2006/relationships/tags" Target="../tags/tag45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348" Type="http://schemas.openxmlformats.org/officeDocument/2006/relationships/tags" Target="../tags/tag348.xml"/><Relationship Id="rId152" Type="http://schemas.openxmlformats.org/officeDocument/2006/relationships/tags" Target="../tags/tag152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56" Type="http://schemas.openxmlformats.org/officeDocument/2006/relationships/tags" Target="../tags/tag56.xml"/><Relationship Id="rId317" Type="http://schemas.openxmlformats.org/officeDocument/2006/relationships/tags" Target="../tags/tag317.xml"/><Relationship Id="rId359" Type="http://schemas.openxmlformats.org/officeDocument/2006/relationships/tags" Target="../tags/tag359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63" Type="http://schemas.openxmlformats.org/officeDocument/2006/relationships/tags" Target="../tags/tag163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" Type="http://schemas.openxmlformats.org/officeDocument/2006/relationships/tags" Target="../tags/tag25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328" Type="http://schemas.openxmlformats.org/officeDocument/2006/relationships/tags" Target="../tags/tag328.xml"/><Relationship Id="rId132" Type="http://schemas.openxmlformats.org/officeDocument/2006/relationships/tags" Target="../tags/tag132.xml"/><Relationship Id="rId174" Type="http://schemas.openxmlformats.org/officeDocument/2006/relationships/tags" Target="../tags/tag174.xml"/><Relationship Id="rId241" Type="http://schemas.openxmlformats.org/officeDocument/2006/relationships/tags" Target="../tags/tag241.xml"/><Relationship Id="rId36" Type="http://schemas.openxmlformats.org/officeDocument/2006/relationships/tags" Target="../tags/tag36.xml"/><Relationship Id="rId283" Type="http://schemas.openxmlformats.org/officeDocument/2006/relationships/tags" Target="../tags/tag283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101" Type="http://schemas.openxmlformats.org/officeDocument/2006/relationships/tags" Target="../tags/tag101.xml"/><Relationship Id="rId143" Type="http://schemas.openxmlformats.org/officeDocument/2006/relationships/tags" Target="../tags/tag143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303" Type="http://schemas.openxmlformats.org/officeDocument/2006/relationships/tags" Target="../tags/tag303.xml"/><Relationship Id="rId42" Type="http://schemas.openxmlformats.org/officeDocument/2006/relationships/tags" Target="../tags/tag42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345" Type="http://schemas.openxmlformats.org/officeDocument/2006/relationships/tags" Target="../tags/tag345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53" Type="http://schemas.openxmlformats.org/officeDocument/2006/relationships/tags" Target="../tags/tag53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56" Type="http://schemas.openxmlformats.org/officeDocument/2006/relationships/tags" Target="../tags/tag356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216" Type="http://schemas.openxmlformats.org/officeDocument/2006/relationships/tags" Target="../tags/tag216.xml"/><Relationship Id="rId258" Type="http://schemas.openxmlformats.org/officeDocument/2006/relationships/tags" Target="../tags/tag258.xml"/><Relationship Id="rId22" Type="http://schemas.openxmlformats.org/officeDocument/2006/relationships/tags" Target="../tags/tag22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325" Type="http://schemas.openxmlformats.org/officeDocument/2006/relationships/tags" Target="../tags/tag325.xml"/><Relationship Id="rId367" Type="http://schemas.openxmlformats.org/officeDocument/2006/relationships/tags" Target="../tags/tag367.xml"/><Relationship Id="rId171" Type="http://schemas.openxmlformats.org/officeDocument/2006/relationships/tags" Target="../tags/tag171.xml"/><Relationship Id="rId227" Type="http://schemas.openxmlformats.org/officeDocument/2006/relationships/tags" Target="../tags/tag227.xml"/><Relationship Id="rId269" Type="http://schemas.openxmlformats.org/officeDocument/2006/relationships/tags" Target="../tags/tag269.xml"/><Relationship Id="rId33" Type="http://schemas.openxmlformats.org/officeDocument/2006/relationships/tags" Target="../tags/tag33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36" Type="http://schemas.openxmlformats.org/officeDocument/2006/relationships/tags" Target="../tags/tag336.xml"/><Relationship Id="rId75" Type="http://schemas.openxmlformats.org/officeDocument/2006/relationships/tags" Target="../tags/tag75.xml"/><Relationship Id="rId140" Type="http://schemas.openxmlformats.org/officeDocument/2006/relationships/tags" Target="../tags/tag140.xml"/><Relationship Id="rId182" Type="http://schemas.openxmlformats.org/officeDocument/2006/relationships/tags" Target="../tags/tag182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86" Type="http://schemas.openxmlformats.org/officeDocument/2006/relationships/tags" Target="../tags/tag86.xml"/><Relationship Id="rId151" Type="http://schemas.openxmlformats.org/officeDocument/2006/relationships/tags" Target="../tags/tag151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316" Type="http://schemas.openxmlformats.org/officeDocument/2006/relationships/tags" Target="../tags/tag316.xml"/><Relationship Id="rId55" Type="http://schemas.openxmlformats.org/officeDocument/2006/relationships/tags" Target="../tags/tag55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358" Type="http://schemas.openxmlformats.org/officeDocument/2006/relationships/tags" Target="../tags/tag358.xml"/><Relationship Id="rId162" Type="http://schemas.openxmlformats.org/officeDocument/2006/relationships/tags" Target="../tags/tag162.xml"/><Relationship Id="rId218" Type="http://schemas.openxmlformats.org/officeDocument/2006/relationships/tags" Target="../tags/tag218.xml"/><Relationship Id="rId271" Type="http://schemas.openxmlformats.org/officeDocument/2006/relationships/tags" Target="../tags/tag271.xml"/><Relationship Id="rId24" Type="http://schemas.openxmlformats.org/officeDocument/2006/relationships/tags" Target="../tags/tag24.xml"/><Relationship Id="rId66" Type="http://schemas.openxmlformats.org/officeDocument/2006/relationships/tags" Target="../tags/tag66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69" Type="http://schemas.openxmlformats.org/officeDocument/2006/relationships/tags" Target="../tags/tag369.xml"/><Relationship Id="rId173" Type="http://schemas.openxmlformats.org/officeDocument/2006/relationships/tags" Target="../tags/tag173.xml"/><Relationship Id="rId229" Type="http://schemas.openxmlformats.org/officeDocument/2006/relationships/tags" Target="../tags/tag229.xml"/><Relationship Id="rId240" Type="http://schemas.openxmlformats.org/officeDocument/2006/relationships/tags" Target="../tags/tag240.xml"/><Relationship Id="rId35" Type="http://schemas.openxmlformats.org/officeDocument/2006/relationships/tags" Target="../tags/tag35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38" Type="http://schemas.openxmlformats.org/officeDocument/2006/relationships/tags" Target="../tags/tag338.xml"/><Relationship Id="rId8" Type="http://schemas.openxmlformats.org/officeDocument/2006/relationships/tags" Target="../tags/tag8.xml"/><Relationship Id="rId142" Type="http://schemas.openxmlformats.org/officeDocument/2006/relationships/tags" Target="../tags/tag142.xml"/><Relationship Id="rId184" Type="http://schemas.openxmlformats.org/officeDocument/2006/relationships/tags" Target="../tags/tag184.xml"/><Relationship Id="rId251" Type="http://schemas.openxmlformats.org/officeDocument/2006/relationships/tags" Target="../tags/tag251.xml"/><Relationship Id="rId46" Type="http://schemas.openxmlformats.org/officeDocument/2006/relationships/tags" Target="../tags/tag46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53" Type="http://schemas.openxmlformats.org/officeDocument/2006/relationships/tags" Target="../tags/tag153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220" Type="http://schemas.openxmlformats.org/officeDocument/2006/relationships/tags" Target="../tags/tag220.xml"/><Relationship Id="rId15" Type="http://schemas.openxmlformats.org/officeDocument/2006/relationships/tags" Target="../tags/tag15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318" Type="http://schemas.openxmlformats.org/officeDocument/2006/relationships/tags" Target="../tags/tag318.xml"/><Relationship Id="rId99" Type="http://schemas.openxmlformats.org/officeDocument/2006/relationships/tags" Target="../tags/tag99.xml"/><Relationship Id="rId122" Type="http://schemas.openxmlformats.org/officeDocument/2006/relationships/tags" Target="../tags/tag122.xml"/><Relationship Id="rId164" Type="http://schemas.openxmlformats.org/officeDocument/2006/relationships/tags" Target="../tags/tag164.xml"/><Relationship Id="rId371" Type="http://schemas.openxmlformats.org/officeDocument/2006/relationships/tags" Target="../tags/tag37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mailto:Janine.Hoffart@unibas.ch" TargetMode="External"/><Relationship Id="rId2" Type="http://schemas.openxmlformats.org/officeDocument/2006/relationships/hyperlink" Target="mailto:Jana.jarecki@unibas.ch" TargetMode="Externa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image" Target="../media/image4.tiff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isk is not  just perceived as variance</a:t>
            </a:r>
            <a:r>
              <a:rPr lang="en-GB" dirty="0" smtClean="0"/>
              <a:t> 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smtClean="0"/>
              <a:t>Janine </a:t>
            </a:r>
            <a:r>
              <a:rPr lang="en-GB" dirty="0" err="1" smtClean="0"/>
              <a:t>Hoffart</a:t>
            </a:r>
            <a:r>
              <a:rPr lang="en-GB" dirty="0" smtClean="0"/>
              <a:t>, Jana Jarecki, </a:t>
            </a:r>
            <a:r>
              <a:rPr lang="en-GB" dirty="0" err="1" smtClean="0"/>
              <a:t>Jörg</a:t>
            </a:r>
            <a:r>
              <a:rPr lang="en-GB" dirty="0" smtClean="0"/>
              <a:t> </a:t>
            </a:r>
            <a:r>
              <a:rPr lang="en-GB" dirty="0" err="1" smtClean="0"/>
              <a:t>Rieskamp</a:t>
            </a:r>
            <a:endParaRPr lang="en-GB" dirty="0"/>
          </a:p>
        </p:txBody>
      </p:sp>
      <p:pic>
        <p:nvPicPr>
          <p:cNvPr id="6" name="Bildplatzhalter 5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37" b="32454"/>
          <a:stretch/>
        </p:blipFill>
        <p:spPr>
          <a:xfrm>
            <a:off x="0" y="2907797"/>
            <a:ext cx="8928100" cy="4058585"/>
          </a:xfrm>
        </p:spPr>
      </p:pic>
    </p:spTree>
    <p:extLst>
      <p:ext uri="{BB962C8B-B14F-4D97-AF65-F5344CB8AC3E}">
        <p14:creationId xmlns:p14="http://schemas.microsoft.com/office/powerpoint/2010/main" val="4263546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i="1" dirty="0"/>
              <a:t>“How </a:t>
            </a:r>
            <a:r>
              <a:rPr lang="en-US" i="1" dirty="0">
                <a:solidFill>
                  <a:schemeClr val="accent2"/>
                </a:solidFill>
              </a:rPr>
              <a:t>predictable</a:t>
            </a:r>
            <a:r>
              <a:rPr lang="en-US" i="1" dirty="0"/>
              <a:t> is the return trajectory of this stock?”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Risk is not just perceived as variance, Hoffart, Jarecki, Rieskamp, 21. Nov 2017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GB" smtClean="0"/>
              <a:t>University of Basel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en-GB" smtClean="0"/>
              <a:pPr/>
              <a:t>10</a:t>
            </a:fld>
            <a:endParaRPr lang="en-GB" dirty="0"/>
          </a:p>
        </p:txBody>
      </p:sp>
      <p:pic>
        <p:nvPicPr>
          <p:cNvPr id="10" name="Bild 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49632"/>
          <a:stretch/>
        </p:blipFill>
        <p:spPr>
          <a:xfrm>
            <a:off x="-36512" y="1412776"/>
            <a:ext cx="4464496" cy="2332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799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i="1" dirty="0"/>
              <a:t>“How </a:t>
            </a:r>
            <a:r>
              <a:rPr lang="en-US" i="1" dirty="0" smtClean="0">
                <a:solidFill>
                  <a:schemeClr val="accent2"/>
                </a:solidFill>
              </a:rPr>
              <a:t>variable</a:t>
            </a:r>
            <a:r>
              <a:rPr lang="en-US" i="1" dirty="0" smtClean="0"/>
              <a:t> </a:t>
            </a:r>
            <a:r>
              <a:rPr lang="en-US" i="1" dirty="0"/>
              <a:t>is the return trajectory of this stock?”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Risk is not just perceived as variance, Hoffart, Jarecki, Rieskamp, 21. Nov 2017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GB" smtClean="0"/>
              <a:t>University of Basel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en-GB" smtClean="0"/>
              <a:pPr/>
              <a:t>11</a:t>
            </a:fld>
            <a:endParaRPr lang="en-GB" dirty="0"/>
          </a:p>
        </p:txBody>
      </p:sp>
      <p:pic>
        <p:nvPicPr>
          <p:cNvPr id="10" name="Bild 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4448"/>
          <a:stretch/>
        </p:blipFill>
        <p:spPr>
          <a:xfrm>
            <a:off x="-36512" y="1412776"/>
            <a:ext cx="6696744" cy="2332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206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i="1" dirty="0"/>
              <a:t>“How much does the return </a:t>
            </a:r>
            <a:r>
              <a:rPr lang="en-US" i="1" dirty="0">
                <a:solidFill>
                  <a:schemeClr val="accent2"/>
                </a:solidFill>
              </a:rPr>
              <a:t>fluctuate</a:t>
            </a:r>
            <a:r>
              <a:rPr lang="en-US" i="1" dirty="0"/>
              <a:t> for the stock?”</a:t>
            </a:r>
            <a:br>
              <a:rPr lang="en-US" i="1" dirty="0"/>
            </a:br>
            <a:endParaRPr lang="en-US" i="1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Risk is not just perceived as variance, Hoffart, Jarecki, Rieskamp, 21. Nov 2017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GB" smtClean="0"/>
              <a:t>University of Basel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en-GB" smtClean="0"/>
              <a:pPr/>
              <a:t>12</a:t>
            </a:fld>
            <a:endParaRPr lang="en-GB" dirty="0"/>
          </a:p>
        </p:txBody>
      </p:sp>
      <p:pic>
        <p:nvPicPr>
          <p:cNvPr id="10" name="Bild 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76"/>
          <a:stretch/>
        </p:blipFill>
        <p:spPr>
          <a:xfrm>
            <a:off x="-36512" y="1412776"/>
            <a:ext cx="8856984" cy="2332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1745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i="1" dirty="0"/>
              <a:t>“How much does the return </a:t>
            </a:r>
            <a:r>
              <a:rPr lang="en-US" i="1" dirty="0">
                <a:solidFill>
                  <a:schemeClr val="accent2"/>
                </a:solidFill>
              </a:rPr>
              <a:t>fluctuate</a:t>
            </a:r>
            <a:r>
              <a:rPr lang="en-US" i="1" dirty="0"/>
              <a:t> for the stock?”</a:t>
            </a:r>
            <a:br>
              <a:rPr lang="en-US" i="1" dirty="0"/>
            </a:br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Risk is not just perceived as variance, Hoffart, Jarecki, Rieskamp, 21. Nov 2017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GB" smtClean="0"/>
              <a:t>University of Basel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7" name="Abgerundetes Rechteck 6"/>
          <p:cNvSpPr/>
          <p:nvPr/>
        </p:nvSpPr>
        <p:spPr>
          <a:xfrm>
            <a:off x="6623721" y="1585028"/>
            <a:ext cx="2304256" cy="2160240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/>
          </p:nvPr>
        </p:nvGraphicFramePr>
        <p:xfrm>
          <a:off x="624136" y="4164431"/>
          <a:ext cx="7704855" cy="1127946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15409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40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4097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4097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4097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62217">
                <a:tc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tx1"/>
                        </a:solidFill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de-DE" sz="1200" dirty="0" err="1" smtClean="0">
                          <a:solidFill>
                            <a:schemeClr val="tx1"/>
                          </a:solidFill>
                          <a:latin typeface="Andale Mono" charset="0"/>
                          <a:ea typeface="Andale Mono" charset="0"/>
                          <a:cs typeface="Andale Mono" charset="0"/>
                        </a:rPr>
                        <a:t>Scale</a:t>
                      </a:r>
                      <a:endParaRPr lang="de-DE" sz="1200" dirty="0">
                        <a:solidFill>
                          <a:schemeClr val="tx1"/>
                        </a:solidFill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768">
                <a:tc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tx1"/>
                        </a:solidFill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 err="1" smtClean="0">
                          <a:latin typeface="Andale Mono" charset="0"/>
                          <a:ea typeface="Andale Mono" charset="0"/>
                          <a:cs typeface="Andale Mono" charset="0"/>
                        </a:rPr>
                        <a:t>Risk</a:t>
                      </a:r>
                      <a:endParaRPr lang="de-DE" sz="1200" dirty="0"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 err="1" smtClean="0">
                          <a:latin typeface="Andale Mono" charset="0"/>
                          <a:ea typeface="Andale Mono" charset="0"/>
                          <a:cs typeface="Andale Mono" charset="0"/>
                        </a:rPr>
                        <a:t>Predictability</a:t>
                      </a:r>
                      <a:endParaRPr lang="de-DE" sz="1200" dirty="0"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err="1" smtClean="0">
                          <a:solidFill>
                            <a:schemeClr val="tx1"/>
                          </a:solidFill>
                          <a:latin typeface="Andale Mono" charset="0"/>
                          <a:ea typeface="Andale Mono" charset="0"/>
                          <a:cs typeface="Andale Mono" charset="0"/>
                        </a:rPr>
                        <a:t>Variability</a:t>
                      </a:r>
                      <a:endParaRPr lang="de-DE" sz="1200" dirty="0">
                        <a:solidFill>
                          <a:schemeClr val="tx1"/>
                        </a:solidFill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err="1" smtClean="0">
                          <a:solidFill>
                            <a:schemeClr val="tx1"/>
                          </a:solidFill>
                          <a:latin typeface="Andale Mono" charset="0"/>
                          <a:ea typeface="Andale Mono" charset="0"/>
                          <a:cs typeface="Andale Mono" charset="0"/>
                        </a:rPr>
                        <a:t>Fluctuation</a:t>
                      </a:r>
                      <a:endParaRPr lang="de-DE" sz="1200" baseline="-25000" dirty="0">
                        <a:solidFill>
                          <a:schemeClr val="tx1"/>
                        </a:solidFill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2768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err="1" smtClean="0">
                          <a:solidFill>
                            <a:schemeClr val="tx1"/>
                          </a:solidFill>
                          <a:latin typeface="Andale Mono" charset="0"/>
                          <a:ea typeface="Andale Mono" charset="0"/>
                          <a:cs typeface="Andale Mono" charset="0"/>
                        </a:rPr>
                        <a:t>Variance</a:t>
                      </a:r>
                      <a:r>
                        <a:rPr lang="de-DE" sz="1200" baseline="-25000" dirty="0" err="1" smtClean="0">
                          <a:solidFill>
                            <a:schemeClr val="tx1"/>
                          </a:solidFill>
                          <a:latin typeface="Andale Mono" charset="0"/>
                          <a:ea typeface="Andale Mono" charset="0"/>
                          <a:cs typeface="Andale Mono" charset="0"/>
                        </a:rPr>
                        <a:t>Objective</a:t>
                      </a:r>
                      <a:endParaRPr lang="de-DE" sz="1200" baseline="-25000" dirty="0">
                        <a:solidFill>
                          <a:schemeClr val="tx1"/>
                        </a:solidFill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 smtClean="0">
                          <a:latin typeface="Andale Mono" charset="0"/>
                          <a:ea typeface="Andale Mono" charset="0"/>
                          <a:cs typeface="Andale Mono" charset="0"/>
                        </a:rPr>
                        <a:t>12.92</a:t>
                      </a:r>
                      <a:endParaRPr lang="de-DE" sz="1200" dirty="0"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 smtClean="0">
                          <a:latin typeface="Andale Mono" charset="0"/>
                          <a:ea typeface="Andale Mono" charset="0"/>
                          <a:cs typeface="Andale Mono" charset="0"/>
                        </a:rPr>
                        <a:t>-17.43</a:t>
                      </a:r>
                      <a:endParaRPr lang="de-DE" sz="1200" dirty="0"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>
                          <a:solidFill>
                            <a:schemeClr val="tx1"/>
                          </a:solidFill>
                          <a:latin typeface="Andale Mono" charset="0"/>
                          <a:ea typeface="Andale Mono" charset="0"/>
                          <a:cs typeface="Andale Mono" charset="0"/>
                        </a:rPr>
                        <a:t>25.89</a:t>
                      </a:r>
                      <a:endParaRPr lang="de-DE" sz="1200" dirty="0">
                        <a:solidFill>
                          <a:schemeClr val="tx1"/>
                        </a:solidFill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>
                          <a:solidFill>
                            <a:schemeClr val="tx1"/>
                          </a:solidFill>
                          <a:latin typeface="Andale Mono" charset="0"/>
                          <a:ea typeface="Andale Mono" charset="0"/>
                          <a:cs typeface="Andale Mono" charset="0"/>
                        </a:rPr>
                        <a:t>28.56</a:t>
                      </a:r>
                      <a:endParaRPr lang="de-DE" sz="1200" dirty="0">
                        <a:solidFill>
                          <a:schemeClr val="tx1"/>
                        </a:solidFill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4986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>
                          <a:solidFill>
                            <a:schemeClr val="tx1"/>
                          </a:solidFill>
                          <a:latin typeface="Andale Mono" charset="0"/>
                          <a:ea typeface="Andale Mono" charset="0"/>
                          <a:cs typeface="Andale Mono" charset="0"/>
                        </a:rPr>
                        <a:t>AIC</a:t>
                      </a:r>
                      <a:endParaRPr lang="de-DE" sz="1200" dirty="0">
                        <a:solidFill>
                          <a:schemeClr val="tx1"/>
                        </a:solidFill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 smtClean="0">
                          <a:latin typeface="Andale Mono" charset="0"/>
                          <a:ea typeface="Andale Mono" charset="0"/>
                          <a:cs typeface="Andale Mono" charset="0"/>
                        </a:rPr>
                        <a:t>6293</a:t>
                      </a:r>
                      <a:endParaRPr lang="de-DE" sz="1200" dirty="0"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 smtClean="0">
                          <a:latin typeface="Andale Mono" charset="0"/>
                          <a:ea typeface="Andale Mono" charset="0"/>
                          <a:cs typeface="Andale Mono" charset="0"/>
                        </a:rPr>
                        <a:t>6049</a:t>
                      </a:r>
                      <a:endParaRPr lang="de-DE" sz="1200" dirty="0"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200" dirty="0" smtClean="0">
                          <a:solidFill>
                            <a:schemeClr val="tx1"/>
                          </a:solidFill>
                          <a:latin typeface="Andale Mono" charset="0"/>
                          <a:ea typeface="Andale Mono" charset="0"/>
                          <a:cs typeface="Andale Mono" charset="0"/>
                        </a:rPr>
                        <a:t>5450</a:t>
                      </a:r>
                      <a:endParaRPr lang="de-DE" sz="1200" dirty="0">
                        <a:solidFill>
                          <a:schemeClr val="tx1"/>
                        </a:solidFill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1200" dirty="0" smtClean="0">
                          <a:solidFill>
                            <a:schemeClr val="tx1"/>
                          </a:solidFill>
                          <a:latin typeface="Andale Mono" charset="0"/>
                          <a:ea typeface="Andale Mono" charset="0"/>
                          <a:cs typeface="Andale Mono" charset="0"/>
                        </a:rPr>
                        <a:t>5264</a:t>
                      </a:r>
                      <a:endParaRPr lang="de-DE" sz="1200" dirty="0">
                        <a:solidFill>
                          <a:schemeClr val="tx1"/>
                        </a:solidFill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9" name="Abgerundetes Rechteck 8"/>
          <p:cNvSpPr/>
          <p:nvPr/>
        </p:nvSpPr>
        <p:spPr>
          <a:xfrm>
            <a:off x="6839743" y="4476063"/>
            <a:ext cx="1489248" cy="915131"/>
          </a:xfrm>
          <a:prstGeom prst="roundRect">
            <a:avLst/>
          </a:prstGeom>
          <a:solidFill>
            <a:schemeClr val="accent1"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pic>
        <p:nvPicPr>
          <p:cNvPr id="10" name="Bild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6512" y="1412776"/>
            <a:ext cx="8863470" cy="2332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4142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Open-</a:t>
            </a:r>
            <a:r>
              <a:rPr lang="de-CH" dirty="0" err="1" smtClean="0"/>
              <a:t>ended</a:t>
            </a:r>
            <a:r>
              <a:rPr lang="de-CH" dirty="0" smtClean="0"/>
              <a:t> </a:t>
            </a:r>
            <a:r>
              <a:rPr lang="de-CH" dirty="0" err="1" smtClean="0"/>
              <a:t>Question</a:t>
            </a:r>
            <a:r>
              <a:rPr lang="de-CH" dirty="0" smtClean="0"/>
              <a:t>:</a:t>
            </a:r>
            <a:br>
              <a:rPr lang="de-CH" dirty="0" smtClean="0"/>
            </a:br>
            <a:r>
              <a:rPr lang="de-CH" dirty="0" smtClean="0"/>
              <a:t>«</a:t>
            </a:r>
            <a:r>
              <a:rPr lang="de-CH" dirty="0" err="1" smtClean="0"/>
              <a:t>What</a:t>
            </a:r>
            <a:r>
              <a:rPr lang="de-CH" dirty="0" smtClean="0"/>
              <a:t> </a:t>
            </a:r>
            <a:r>
              <a:rPr lang="de-CH" dirty="0" err="1" smtClean="0"/>
              <a:t>does</a:t>
            </a:r>
            <a:r>
              <a:rPr lang="de-CH" dirty="0" smtClean="0"/>
              <a:t> </a:t>
            </a:r>
            <a:r>
              <a:rPr lang="de-CH" dirty="0" err="1" smtClean="0"/>
              <a:t>it</a:t>
            </a:r>
            <a:r>
              <a:rPr lang="de-CH" dirty="0" smtClean="0"/>
              <a:t> </a:t>
            </a:r>
            <a:r>
              <a:rPr lang="de-CH" dirty="0" err="1" smtClean="0"/>
              <a:t>mean</a:t>
            </a:r>
            <a:r>
              <a:rPr lang="de-CH" dirty="0" smtClean="0"/>
              <a:t> </a:t>
            </a:r>
            <a:r>
              <a:rPr lang="de-CH" dirty="0" err="1" smtClean="0"/>
              <a:t>for</a:t>
            </a:r>
            <a:r>
              <a:rPr lang="de-CH" dirty="0" smtClean="0"/>
              <a:t> </a:t>
            </a:r>
            <a:r>
              <a:rPr lang="de-CH" dirty="0" err="1" smtClean="0"/>
              <a:t>you</a:t>
            </a:r>
            <a:r>
              <a:rPr lang="de-CH" dirty="0" smtClean="0"/>
              <a:t> </a:t>
            </a:r>
            <a:r>
              <a:rPr lang="de-CH" dirty="0" err="1" smtClean="0"/>
              <a:t>if</a:t>
            </a:r>
            <a:r>
              <a:rPr lang="de-CH" dirty="0" smtClean="0"/>
              <a:t> a stock </a:t>
            </a:r>
            <a:r>
              <a:rPr lang="de-CH" dirty="0" err="1" smtClean="0"/>
              <a:t>has</a:t>
            </a:r>
            <a:r>
              <a:rPr lang="de-CH" dirty="0" smtClean="0"/>
              <a:t> a high </a:t>
            </a:r>
            <a:r>
              <a:rPr lang="de-CH" dirty="0" err="1" smtClean="0"/>
              <a:t>risk</a:t>
            </a:r>
            <a:r>
              <a:rPr lang="de-CH" dirty="0" smtClean="0"/>
              <a:t>?»</a:t>
            </a:r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Risk is not just perceived as variance, Hoffart, Jarecki, Rieskamp, 21. Nov 2017</a:t>
            </a:r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GB" smtClean="0"/>
              <a:t>University of Basel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33" name="Rechteck 32"/>
          <p:cNvSpPr/>
          <p:nvPr/>
        </p:nvSpPr>
        <p:spPr>
          <a:xfrm>
            <a:off x="3206229" y="3378598"/>
            <a:ext cx="2999920" cy="29249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Loss</a:t>
            </a:r>
          </a:p>
        </p:txBody>
      </p:sp>
      <p:sp>
        <p:nvSpPr>
          <p:cNvPr id="34" name="Rechteck 33"/>
          <p:cNvSpPr/>
          <p:nvPr/>
        </p:nvSpPr>
        <p:spPr>
          <a:xfrm>
            <a:off x="4640877" y="1880737"/>
            <a:ext cx="1253897" cy="12319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err="1" smtClean="0">
                <a:solidFill>
                  <a:schemeClr val="tx1"/>
                </a:solidFill>
              </a:rPr>
              <a:t>Gain</a:t>
            </a:r>
            <a:endParaRPr lang="de-DE" sz="2000" dirty="0" smtClean="0">
              <a:solidFill>
                <a:schemeClr val="tx1"/>
              </a:solidFill>
            </a:endParaRPr>
          </a:p>
        </p:txBody>
      </p:sp>
      <p:sp>
        <p:nvSpPr>
          <p:cNvPr id="35" name="Rechteck 34"/>
          <p:cNvSpPr/>
          <p:nvPr/>
        </p:nvSpPr>
        <p:spPr>
          <a:xfrm>
            <a:off x="3299792" y="2172078"/>
            <a:ext cx="910828" cy="102647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 err="1" smtClean="0">
                <a:solidFill>
                  <a:schemeClr val="tx1"/>
                </a:solidFill>
              </a:rPr>
              <a:t>Variance</a:t>
            </a:r>
            <a:r>
              <a:rPr lang="de-DE" sz="1100" dirty="0" smtClean="0">
                <a:solidFill>
                  <a:schemeClr val="tx1"/>
                </a:solidFill>
              </a:rPr>
              <a:t> / </a:t>
            </a:r>
            <a:r>
              <a:rPr lang="de-DE" sz="1100" dirty="0" err="1" smtClean="0">
                <a:solidFill>
                  <a:schemeClr val="tx1"/>
                </a:solidFill>
              </a:rPr>
              <a:t>Fluctuation</a:t>
            </a:r>
            <a:endParaRPr lang="de-DE" sz="1100" dirty="0" smtClean="0">
              <a:solidFill>
                <a:schemeClr val="tx1"/>
              </a:solidFill>
            </a:endParaRPr>
          </a:p>
        </p:txBody>
      </p:sp>
      <p:sp>
        <p:nvSpPr>
          <p:cNvPr id="36" name="Rechteck 35"/>
          <p:cNvSpPr/>
          <p:nvPr/>
        </p:nvSpPr>
        <p:spPr>
          <a:xfrm>
            <a:off x="2395339" y="1538808"/>
            <a:ext cx="865946" cy="903686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 err="1" smtClean="0"/>
              <a:t>Uncertainty</a:t>
            </a:r>
            <a:r>
              <a:rPr lang="de-DE" sz="800" dirty="0" smtClean="0"/>
              <a:t> / </a:t>
            </a:r>
            <a:r>
              <a:rPr lang="de-DE" sz="800" dirty="0" err="1" smtClean="0"/>
              <a:t>Predictability</a:t>
            </a:r>
            <a:endParaRPr lang="de-DE" sz="800" dirty="0" smtClean="0"/>
          </a:p>
        </p:txBody>
      </p:sp>
      <p:sp>
        <p:nvSpPr>
          <p:cNvPr id="37" name="Rechteck 36"/>
          <p:cNvSpPr/>
          <p:nvPr/>
        </p:nvSpPr>
        <p:spPr>
          <a:xfrm>
            <a:off x="2395339" y="3778347"/>
            <a:ext cx="606454" cy="64436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/>
              <a:t>Other</a:t>
            </a:r>
          </a:p>
        </p:txBody>
      </p:sp>
    </p:spTree>
    <p:extLst>
      <p:ext uri="{BB962C8B-B14F-4D97-AF65-F5344CB8AC3E}">
        <p14:creationId xmlns:p14="http://schemas.microsoft.com/office/powerpoint/2010/main" val="3056413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Paradoxes </a:t>
            </a:r>
            <a:r>
              <a:rPr lang="de-CH" dirty="0" err="1" smtClean="0"/>
              <a:t>related</a:t>
            </a:r>
            <a:r>
              <a:rPr lang="de-CH" dirty="0" smtClean="0"/>
              <a:t> </a:t>
            </a:r>
            <a:r>
              <a:rPr lang="de-CH" dirty="0" err="1" smtClean="0"/>
              <a:t>to</a:t>
            </a:r>
            <a:r>
              <a:rPr lang="de-CH" dirty="0" smtClean="0"/>
              <a:t> </a:t>
            </a:r>
            <a:r>
              <a:rPr lang="de-CH" dirty="0" err="1" smtClean="0"/>
              <a:t>the</a:t>
            </a:r>
            <a:r>
              <a:rPr lang="de-CH" dirty="0" smtClean="0"/>
              <a:t> </a:t>
            </a:r>
            <a:r>
              <a:rPr lang="de-CH" dirty="0" err="1" smtClean="0"/>
              <a:t>perception</a:t>
            </a:r>
            <a:r>
              <a:rPr lang="de-CH" dirty="0" smtClean="0"/>
              <a:t> </a:t>
            </a:r>
            <a:r>
              <a:rPr lang="de-CH" dirty="0" err="1" smtClean="0"/>
              <a:t>of</a:t>
            </a:r>
            <a:r>
              <a:rPr lang="de-CH" dirty="0" smtClean="0"/>
              <a:t> </a:t>
            </a:r>
            <a:r>
              <a:rPr lang="de-CH" dirty="0" err="1" smtClean="0"/>
              <a:t>variance</a:t>
            </a: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err="1" smtClean="0"/>
              <a:t>are</a:t>
            </a:r>
            <a:r>
              <a:rPr lang="de-CH" dirty="0" smtClean="0"/>
              <a:t> </a:t>
            </a:r>
            <a:r>
              <a:rPr lang="de-CH" dirty="0" err="1" smtClean="0"/>
              <a:t>driven</a:t>
            </a:r>
            <a:r>
              <a:rPr lang="de-CH" dirty="0" smtClean="0"/>
              <a:t> </a:t>
            </a:r>
            <a:r>
              <a:rPr lang="de-CH" dirty="0" err="1" smtClean="0"/>
              <a:t>by</a:t>
            </a:r>
            <a:r>
              <a:rPr lang="de-CH" dirty="0" smtClean="0"/>
              <a:t> </a:t>
            </a:r>
            <a:r>
              <a:rPr lang="de-CH" dirty="0" err="1" smtClean="0"/>
              <a:t>differing</a:t>
            </a:r>
            <a:r>
              <a:rPr lang="de-CH" dirty="0" smtClean="0"/>
              <a:t> </a:t>
            </a:r>
            <a:r>
              <a:rPr lang="de-CH" dirty="0" err="1" smtClean="0"/>
              <a:t>notions</a:t>
            </a:r>
            <a:r>
              <a:rPr lang="de-CH" dirty="0" smtClean="0"/>
              <a:t> </a:t>
            </a:r>
            <a:r>
              <a:rPr lang="de-CH" dirty="0" err="1" smtClean="0"/>
              <a:t>of</a:t>
            </a:r>
            <a:r>
              <a:rPr lang="de-CH" dirty="0" smtClean="0"/>
              <a:t> «</a:t>
            </a:r>
            <a:r>
              <a:rPr lang="de-CH" dirty="0" err="1" smtClean="0"/>
              <a:t>risk</a:t>
            </a:r>
            <a:r>
              <a:rPr lang="de-CH" dirty="0" smtClean="0"/>
              <a:t>»</a:t>
            </a:r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Risk is not just perceived as variance, Hoffart, Jarecki, Rieskamp, 21. Nov 2017</a:t>
            </a:r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GB" smtClean="0"/>
              <a:t>University of Basel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4422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Replication </a:t>
            </a:r>
            <a:r>
              <a:rPr lang="de-CH" dirty="0" err="1" smtClean="0"/>
              <a:t>of</a:t>
            </a:r>
            <a:r>
              <a:rPr lang="de-CH" dirty="0" smtClean="0"/>
              <a:t> </a:t>
            </a:r>
            <a:r>
              <a:rPr lang="de-CH" dirty="0" err="1" smtClean="0"/>
              <a:t>results</a:t>
            </a:r>
            <a:r>
              <a:rPr lang="de-CH" dirty="0" smtClean="0"/>
              <a:t> </a:t>
            </a:r>
            <a:r>
              <a:rPr lang="de-CH" dirty="0" err="1" smtClean="0"/>
              <a:t>with</a:t>
            </a:r>
            <a:r>
              <a:rPr lang="de-CH" dirty="0" smtClean="0"/>
              <a:t> international </a:t>
            </a:r>
            <a:r>
              <a:rPr lang="de-CH" dirty="0" err="1" smtClean="0"/>
              <a:t>stocks</a:t>
            </a:r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Risk is not just perceived as variance, Hoffart, Jarecki, Rieskamp, 21. Nov 2017</a:t>
            </a:r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GB" smtClean="0"/>
              <a:t>University of Basel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en-GB" smtClean="0"/>
              <a:pPr/>
              <a:t>16</a:t>
            </a:fld>
            <a:endParaRPr lang="en-GB" dirty="0"/>
          </a:p>
        </p:txBody>
      </p:sp>
      <p:grpSp>
        <p:nvGrpSpPr>
          <p:cNvPr id="6" name="Gruppierung 5"/>
          <p:cNvGrpSpPr>
            <a:grpSpLocks noChangeAspect="1"/>
          </p:cNvGrpSpPr>
          <p:nvPr/>
        </p:nvGrpSpPr>
        <p:grpSpPr>
          <a:xfrm>
            <a:off x="2006162" y="2402329"/>
            <a:ext cx="5131676" cy="2880000"/>
            <a:chOff x="677863" y="1084065"/>
            <a:chExt cx="7793306" cy="4373760"/>
          </a:xfrm>
        </p:grpSpPr>
        <p:sp>
          <p:nvSpPr>
            <p:cNvPr id="7" name="Freeform 382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4410075" y="4367213"/>
              <a:ext cx="396875" cy="398462"/>
            </a:xfrm>
            <a:custGeom>
              <a:avLst/>
              <a:gdLst>
                <a:gd name="T0" fmla="*/ 899 w 903"/>
                <a:gd name="T1" fmla="*/ 291 h 759"/>
                <a:gd name="T2" fmla="*/ 863 w 903"/>
                <a:gd name="T3" fmla="*/ 388 h 759"/>
                <a:gd name="T4" fmla="*/ 832 w 903"/>
                <a:gd name="T5" fmla="*/ 414 h 759"/>
                <a:gd name="T6" fmla="*/ 761 w 903"/>
                <a:gd name="T7" fmla="*/ 507 h 759"/>
                <a:gd name="T8" fmla="*/ 720 w 903"/>
                <a:gd name="T9" fmla="*/ 561 h 759"/>
                <a:gd name="T10" fmla="*/ 647 w 903"/>
                <a:gd name="T11" fmla="*/ 613 h 759"/>
                <a:gd name="T12" fmla="*/ 583 w 903"/>
                <a:gd name="T13" fmla="*/ 666 h 759"/>
                <a:gd name="T14" fmla="*/ 557 w 903"/>
                <a:gd name="T15" fmla="*/ 698 h 759"/>
                <a:gd name="T16" fmla="*/ 520 w 903"/>
                <a:gd name="T17" fmla="*/ 705 h 759"/>
                <a:gd name="T18" fmla="*/ 496 w 903"/>
                <a:gd name="T19" fmla="*/ 710 h 759"/>
                <a:gd name="T20" fmla="*/ 485 w 903"/>
                <a:gd name="T21" fmla="*/ 727 h 759"/>
                <a:gd name="T22" fmla="*/ 372 w 903"/>
                <a:gd name="T23" fmla="*/ 727 h 759"/>
                <a:gd name="T24" fmla="*/ 339 w 903"/>
                <a:gd name="T25" fmla="*/ 732 h 759"/>
                <a:gd name="T26" fmla="*/ 316 w 903"/>
                <a:gd name="T27" fmla="*/ 732 h 759"/>
                <a:gd name="T28" fmla="*/ 286 w 903"/>
                <a:gd name="T29" fmla="*/ 727 h 759"/>
                <a:gd name="T30" fmla="*/ 263 w 903"/>
                <a:gd name="T31" fmla="*/ 737 h 759"/>
                <a:gd name="T32" fmla="*/ 146 w 903"/>
                <a:gd name="T33" fmla="*/ 759 h 759"/>
                <a:gd name="T34" fmla="*/ 116 w 903"/>
                <a:gd name="T35" fmla="*/ 753 h 759"/>
                <a:gd name="T36" fmla="*/ 90 w 903"/>
                <a:gd name="T37" fmla="*/ 739 h 759"/>
                <a:gd name="T38" fmla="*/ 76 w 903"/>
                <a:gd name="T39" fmla="*/ 719 h 759"/>
                <a:gd name="T40" fmla="*/ 79 w 903"/>
                <a:gd name="T41" fmla="*/ 697 h 759"/>
                <a:gd name="T42" fmla="*/ 75 w 903"/>
                <a:gd name="T43" fmla="*/ 628 h 759"/>
                <a:gd name="T44" fmla="*/ 79 w 903"/>
                <a:gd name="T45" fmla="*/ 608 h 759"/>
                <a:gd name="T46" fmla="*/ 68 w 903"/>
                <a:gd name="T47" fmla="*/ 572 h 759"/>
                <a:gd name="T48" fmla="*/ 22 w 903"/>
                <a:gd name="T49" fmla="*/ 516 h 759"/>
                <a:gd name="T50" fmla="*/ 12 w 903"/>
                <a:gd name="T51" fmla="*/ 484 h 759"/>
                <a:gd name="T52" fmla="*/ 10 w 903"/>
                <a:gd name="T53" fmla="*/ 439 h 759"/>
                <a:gd name="T54" fmla="*/ 0 w 903"/>
                <a:gd name="T55" fmla="*/ 377 h 759"/>
                <a:gd name="T56" fmla="*/ 39 w 903"/>
                <a:gd name="T57" fmla="*/ 377 h 759"/>
                <a:gd name="T58" fmla="*/ 57 w 903"/>
                <a:gd name="T59" fmla="*/ 396 h 759"/>
                <a:gd name="T60" fmla="*/ 94 w 903"/>
                <a:gd name="T61" fmla="*/ 410 h 759"/>
                <a:gd name="T62" fmla="*/ 135 w 903"/>
                <a:gd name="T63" fmla="*/ 411 h 759"/>
                <a:gd name="T64" fmla="*/ 160 w 903"/>
                <a:gd name="T65" fmla="*/ 400 h 759"/>
                <a:gd name="T66" fmla="*/ 182 w 903"/>
                <a:gd name="T67" fmla="*/ 372 h 759"/>
                <a:gd name="T68" fmla="*/ 197 w 903"/>
                <a:gd name="T69" fmla="*/ 229 h 759"/>
                <a:gd name="T70" fmla="*/ 204 w 903"/>
                <a:gd name="T71" fmla="*/ 184 h 759"/>
                <a:gd name="T72" fmla="*/ 210 w 903"/>
                <a:gd name="T73" fmla="*/ 168 h 759"/>
                <a:gd name="T74" fmla="*/ 239 w 903"/>
                <a:gd name="T75" fmla="*/ 178 h 759"/>
                <a:gd name="T76" fmla="*/ 245 w 903"/>
                <a:gd name="T77" fmla="*/ 238 h 759"/>
                <a:gd name="T78" fmla="*/ 247 w 903"/>
                <a:gd name="T79" fmla="*/ 274 h 759"/>
                <a:gd name="T80" fmla="*/ 256 w 903"/>
                <a:gd name="T81" fmla="*/ 287 h 759"/>
                <a:gd name="T82" fmla="*/ 287 w 903"/>
                <a:gd name="T83" fmla="*/ 295 h 759"/>
                <a:gd name="T84" fmla="*/ 312 w 903"/>
                <a:gd name="T85" fmla="*/ 293 h 759"/>
                <a:gd name="T86" fmla="*/ 333 w 903"/>
                <a:gd name="T87" fmla="*/ 272 h 759"/>
                <a:gd name="T88" fmla="*/ 350 w 903"/>
                <a:gd name="T89" fmla="*/ 234 h 759"/>
                <a:gd name="T90" fmla="*/ 368 w 903"/>
                <a:gd name="T91" fmla="*/ 201 h 759"/>
                <a:gd name="T92" fmla="*/ 387 w 903"/>
                <a:gd name="T93" fmla="*/ 191 h 759"/>
                <a:gd name="T94" fmla="*/ 414 w 903"/>
                <a:gd name="T95" fmla="*/ 193 h 759"/>
                <a:gd name="T96" fmla="*/ 451 w 903"/>
                <a:gd name="T97" fmla="*/ 208 h 759"/>
                <a:gd name="T98" fmla="*/ 478 w 903"/>
                <a:gd name="T99" fmla="*/ 216 h 759"/>
                <a:gd name="T100" fmla="*/ 512 w 903"/>
                <a:gd name="T101" fmla="*/ 213 h 759"/>
                <a:gd name="T102" fmla="*/ 531 w 903"/>
                <a:gd name="T103" fmla="*/ 200 h 759"/>
                <a:gd name="T104" fmla="*/ 564 w 903"/>
                <a:gd name="T105" fmla="*/ 127 h 759"/>
                <a:gd name="T106" fmla="*/ 620 w 903"/>
                <a:gd name="T107" fmla="*/ 80 h 759"/>
                <a:gd name="T108" fmla="*/ 732 w 903"/>
                <a:gd name="T109" fmla="*/ 11 h 759"/>
                <a:gd name="T110" fmla="*/ 806 w 903"/>
                <a:gd name="T111" fmla="*/ 3 h 759"/>
                <a:gd name="T112" fmla="*/ 830 w 903"/>
                <a:gd name="T113" fmla="*/ 6 h 759"/>
                <a:gd name="T114" fmla="*/ 854 w 903"/>
                <a:gd name="T115" fmla="*/ 35 h 759"/>
                <a:gd name="T116" fmla="*/ 873 w 903"/>
                <a:gd name="T117" fmla="*/ 71 h 759"/>
                <a:gd name="T118" fmla="*/ 883 w 903"/>
                <a:gd name="T119" fmla="*/ 107 h 759"/>
                <a:gd name="T120" fmla="*/ 868 w 903"/>
                <a:gd name="T121" fmla="*/ 207 h 759"/>
                <a:gd name="T122" fmla="*/ 830 w 903"/>
                <a:gd name="T123" fmla="*/ 204 h 759"/>
                <a:gd name="T124" fmla="*/ 826 w 903"/>
                <a:gd name="T125" fmla="*/ 281 h 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8" name="Freeform 333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6724650" y="3517900"/>
              <a:ext cx="254000" cy="257175"/>
            </a:xfrm>
            <a:custGeom>
              <a:avLst/>
              <a:gdLst>
                <a:gd name="T0" fmla="*/ 516 w 585"/>
                <a:gd name="T1" fmla="*/ 28 h 493"/>
                <a:gd name="T2" fmla="*/ 495 w 585"/>
                <a:gd name="T3" fmla="*/ 55 h 493"/>
                <a:gd name="T4" fmla="*/ 512 w 585"/>
                <a:gd name="T5" fmla="*/ 93 h 493"/>
                <a:gd name="T6" fmla="*/ 534 w 585"/>
                <a:gd name="T7" fmla="*/ 130 h 493"/>
                <a:gd name="T8" fmla="*/ 573 w 585"/>
                <a:gd name="T9" fmla="*/ 177 h 493"/>
                <a:gd name="T10" fmla="*/ 580 w 585"/>
                <a:gd name="T11" fmla="*/ 205 h 493"/>
                <a:gd name="T12" fmla="*/ 547 w 585"/>
                <a:gd name="T13" fmla="*/ 204 h 493"/>
                <a:gd name="T14" fmla="*/ 516 w 585"/>
                <a:gd name="T15" fmla="*/ 233 h 493"/>
                <a:gd name="T16" fmla="*/ 506 w 585"/>
                <a:gd name="T17" fmla="*/ 246 h 493"/>
                <a:gd name="T18" fmla="*/ 518 w 585"/>
                <a:gd name="T19" fmla="*/ 271 h 493"/>
                <a:gd name="T20" fmla="*/ 525 w 585"/>
                <a:gd name="T21" fmla="*/ 294 h 493"/>
                <a:gd name="T22" fmla="*/ 505 w 585"/>
                <a:gd name="T23" fmla="*/ 308 h 493"/>
                <a:gd name="T24" fmla="*/ 459 w 585"/>
                <a:gd name="T25" fmla="*/ 323 h 493"/>
                <a:gd name="T26" fmla="*/ 443 w 585"/>
                <a:gd name="T27" fmla="*/ 354 h 493"/>
                <a:gd name="T28" fmla="*/ 445 w 585"/>
                <a:gd name="T29" fmla="*/ 415 h 493"/>
                <a:gd name="T30" fmla="*/ 430 w 585"/>
                <a:gd name="T31" fmla="*/ 454 h 493"/>
                <a:gd name="T32" fmla="*/ 400 w 585"/>
                <a:gd name="T33" fmla="*/ 472 h 493"/>
                <a:gd name="T34" fmla="*/ 370 w 585"/>
                <a:gd name="T35" fmla="*/ 488 h 493"/>
                <a:gd name="T36" fmla="*/ 341 w 585"/>
                <a:gd name="T37" fmla="*/ 493 h 493"/>
                <a:gd name="T38" fmla="*/ 329 w 585"/>
                <a:gd name="T39" fmla="*/ 487 h 493"/>
                <a:gd name="T40" fmla="*/ 327 w 585"/>
                <a:gd name="T41" fmla="*/ 471 h 493"/>
                <a:gd name="T42" fmla="*/ 304 w 585"/>
                <a:gd name="T43" fmla="*/ 451 h 493"/>
                <a:gd name="T44" fmla="*/ 251 w 585"/>
                <a:gd name="T45" fmla="*/ 454 h 493"/>
                <a:gd name="T46" fmla="*/ 219 w 585"/>
                <a:gd name="T47" fmla="*/ 462 h 493"/>
                <a:gd name="T48" fmla="*/ 176 w 585"/>
                <a:gd name="T49" fmla="*/ 440 h 493"/>
                <a:gd name="T50" fmla="*/ 122 w 585"/>
                <a:gd name="T51" fmla="*/ 436 h 493"/>
                <a:gd name="T52" fmla="*/ 95 w 585"/>
                <a:gd name="T53" fmla="*/ 429 h 493"/>
                <a:gd name="T54" fmla="*/ 81 w 585"/>
                <a:gd name="T55" fmla="*/ 366 h 493"/>
                <a:gd name="T56" fmla="*/ 58 w 585"/>
                <a:gd name="T57" fmla="*/ 310 h 493"/>
                <a:gd name="T58" fmla="*/ 35 w 585"/>
                <a:gd name="T59" fmla="*/ 292 h 493"/>
                <a:gd name="T60" fmla="*/ 12 w 585"/>
                <a:gd name="T61" fmla="*/ 260 h 493"/>
                <a:gd name="T62" fmla="*/ 5 w 585"/>
                <a:gd name="T63" fmla="*/ 204 h 493"/>
                <a:gd name="T64" fmla="*/ 31 w 585"/>
                <a:gd name="T65" fmla="*/ 153 h 493"/>
                <a:gd name="T66" fmla="*/ 54 w 585"/>
                <a:gd name="T67" fmla="*/ 141 h 493"/>
                <a:gd name="T68" fmla="*/ 75 w 585"/>
                <a:gd name="T69" fmla="*/ 152 h 493"/>
                <a:gd name="T70" fmla="*/ 97 w 585"/>
                <a:gd name="T71" fmla="*/ 187 h 493"/>
                <a:gd name="T72" fmla="*/ 129 w 585"/>
                <a:gd name="T73" fmla="*/ 214 h 493"/>
                <a:gd name="T74" fmla="*/ 170 w 585"/>
                <a:gd name="T75" fmla="*/ 213 h 493"/>
                <a:gd name="T76" fmla="*/ 221 w 585"/>
                <a:gd name="T77" fmla="*/ 189 h 493"/>
                <a:gd name="T78" fmla="*/ 233 w 585"/>
                <a:gd name="T79" fmla="*/ 172 h 493"/>
                <a:gd name="T80" fmla="*/ 288 w 585"/>
                <a:gd name="T81" fmla="*/ 178 h 493"/>
                <a:gd name="T82" fmla="*/ 326 w 585"/>
                <a:gd name="T83" fmla="*/ 181 h 493"/>
                <a:gd name="T84" fmla="*/ 337 w 585"/>
                <a:gd name="T85" fmla="*/ 170 h 493"/>
                <a:gd name="T86" fmla="*/ 362 w 585"/>
                <a:gd name="T87" fmla="*/ 158 h 493"/>
                <a:gd name="T88" fmla="*/ 383 w 585"/>
                <a:gd name="T89" fmla="*/ 136 h 493"/>
                <a:gd name="T90" fmla="*/ 415 w 585"/>
                <a:gd name="T91" fmla="*/ 79 h 493"/>
                <a:gd name="T92" fmla="*/ 427 w 585"/>
                <a:gd name="T93" fmla="*/ 25 h 493"/>
                <a:gd name="T94" fmla="*/ 447 w 585"/>
                <a:gd name="T95" fmla="*/ 6 h 493"/>
                <a:gd name="T96" fmla="*/ 479 w 585"/>
                <a:gd name="T97" fmla="*/ 2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grpSp>
          <p:nvGrpSpPr>
            <p:cNvPr id="9" name="Group 19"/>
            <p:cNvGrpSpPr>
              <a:grpSpLocks/>
            </p:cNvGrpSpPr>
            <p:nvPr>
              <p:custDataLst>
                <p:tags r:id="rId3"/>
              </p:custDataLst>
            </p:nvPr>
          </p:nvGrpSpPr>
          <p:grpSpPr bwMode="auto">
            <a:xfrm>
              <a:off x="6557781" y="3431475"/>
              <a:ext cx="296974" cy="174227"/>
              <a:chOff x="4498" y="2336"/>
              <a:chExt cx="347" cy="211"/>
            </a:xfrm>
            <a:solidFill>
              <a:schemeClr val="accent2"/>
            </a:solidFill>
          </p:grpSpPr>
          <p:sp>
            <p:nvSpPr>
              <p:cNvPr id="552" name="Freeform 21"/>
              <p:cNvSpPr>
                <a:spLocks/>
              </p:cNvSpPr>
              <p:nvPr/>
            </p:nvSpPr>
            <p:spPr bwMode="auto">
              <a:xfrm>
                <a:off x="4498" y="2336"/>
                <a:ext cx="256" cy="155"/>
              </a:xfrm>
              <a:custGeom>
                <a:avLst/>
                <a:gdLst>
                  <a:gd name="T0" fmla="*/ 151 w 232"/>
                  <a:gd name="T1" fmla="*/ 24 h 289"/>
                  <a:gd name="T2" fmla="*/ 165 w 232"/>
                  <a:gd name="T3" fmla="*/ 48 h 289"/>
                  <a:gd name="T4" fmla="*/ 174 w 232"/>
                  <a:gd name="T5" fmla="*/ 56 h 289"/>
                  <a:gd name="T6" fmla="*/ 181 w 232"/>
                  <a:gd name="T7" fmla="*/ 60 h 289"/>
                  <a:gd name="T8" fmla="*/ 186 w 232"/>
                  <a:gd name="T9" fmla="*/ 166 h 289"/>
                  <a:gd name="T10" fmla="*/ 189 w 232"/>
                  <a:gd name="T11" fmla="*/ 196 h 289"/>
                  <a:gd name="T12" fmla="*/ 193 w 232"/>
                  <a:gd name="T13" fmla="*/ 207 h 289"/>
                  <a:gd name="T14" fmla="*/ 199 w 232"/>
                  <a:gd name="T15" fmla="*/ 216 h 289"/>
                  <a:gd name="T16" fmla="*/ 232 w 232"/>
                  <a:gd name="T17" fmla="*/ 246 h 289"/>
                  <a:gd name="T18" fmla="*/ 219 w 232"/>
                  <a:gd name="T19" fmla="*/ 288 h 289"/>
                  <a:gd name="T20" fmla="*/ 186 w 232"/>
                  <a:gd name="T21" fmla="*/ 282 h 289"/>
                  <a:gd name="T22" fmla="*/ 151 w 232"/>
                  <a:gd name="T23" fmla="*/ 264 h 289"/>
                  <a:gd name="T24" fmla="*/ 113 w 232"/>
                  <a:gd name="T25" fmla="*/ 235 h 289"/>
                  <a:gd name="T26" fmla="*/ 81 w 232"/>
                  <a:gd name="T27" fmla="*/ 207 h 289"/>
                  <a:gd name="T28" fmla="*/ 56 w 232"/>
                  <a:gd name="T29" fmla="*/ 176 h 289"/>
                  <a:gd name="T30" fmla="*/ 31 w 232"/>
                  <a:gd name="T31" fmla="*/ 145 h 289"/>
                  <a:gd name="T32" fmla="*/ 9 w 232"/>
                  <a:gd name="T33" fmla="*/ 126 h 289"/>
                  <a:gd name="T34" fmla="*/ 2 w 232"/>
                  <a:gd name="T35" fmla="*/ 117 h 289"/>
                  <a:gd name="T36" fmla="*/ 0 w 232"/>
                  <a:gd name="T37" fmla="*/ 109 h 289"/>
                  <a:gd name="T38" fmla="*/ 0 w 232"/>
                  <a:gd name="T39" fmla="*/ 100 h 289"/>
                  <a:gd name="T40" fmla="*/ 3 w 232"/>
                  <a:gd name="T41" fmla="*/ 92 h 289"/>
                  <a:gd name="T42" fmla="*/ 11 w 232"/>
                  <a:gd name="T43" fmla="*/ 79 h 289"/>
                  <a:gd name="T44" fmla="*/ 12 w 232"/>
                  <a:gd name="T45" fmla="*/ 52 h 289"/>
                  <a:gd name="T46" fmla="*/ 7 w 232"/>
                  <a:gd name="T47" fmla="*/ 15 h 289"/>
                  <a:gd name="T48" fmla="*/ 13 w 232"/>
                  <a:gd name="T49" fmla="*/ 0 h 289"/>
                  <a:gd name="T50" fmla="*/ 26 w 232"/>
                  <a:gd name="T51" fmla="*/ 3 h 289"/>
                  <a:gd name="T52" fmla="*/ 42 w 232"/>
                  <a:gd name="T53" fmla="*/ 10 h 289"/>
                  <a:gd name="T54" fmla="*/ 59 w 232"/>
                  <a:gd name="T55" fmla="*/ 21 h 289"/>
                  <a:gd name="T56" fmla="*/ 73 w 232"/>
                  <a:gd name="T57" fmla="*/ 28 h 289"/>
                  <a:gd name="T58" fmla="*/ 81 w 232"/>
                  <a:gd name="T59" fmla="*/ 31 h 289"/>
                  <a:gd name="T60" fmla="*/ 91 w 232"/>
                  <a:gd name="T61" fmla="*/ 31 h 289"/>
                  <a:gd name="T62" fmla="*/ 105 w 232"/>
                  <a:gd name="T63" fmla="*/ 26 h 289"/>
                  <a:gd name="T64" fmla="*/ 120 w 232"/>
                  <a:gd name="T65" fmla="*/ 19 h 289"/>
                  <a:gd name="T66" fmla="*/ 133 w 232"/>
                  <a:gd name="T67" fmla="*/ 11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 dirty="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53" name="Freeform 20"/>
              <p:cNvSpPr>
                <a:spLocks/>
              </p:cNvSpPr>
              <p:nvPr/>
            </p:nvSpPr>
            <p:spPr bwMode="auto">
              <a:xfrm>
                <a:off x="4597" y="2420"/>
                <a:ext cx="248" cy="127"/>
              </a:xfrm>
              <a:custGeom>
                <a:avLst/>
                <a:gdLst>
                  <a:gd name="T0" fmla="*/ 424 w 512"/>
                  <a:gd name="T1" fmla="*/ 198 h 408"/>
                  <a:gd name="T2" fmla="*/ 387 w 512"/>
                  <a:gd name="T3" fmla="*/ 193 h 408"/>
                  <a:gd name="T4" fmla="*/ 367 w 512"/>
                  <a:gd name="T5" fmla="*/ 203 h 408"/>
                  <a:gd name="T6" fmla="*/ 354 w 512"/>
                  <a:gd name="T7" fmla="*/ 217 h 408"/>
                  <a:gd name="T8" fmla="*/ 347 w 512"/>
                  <a:gd name="T9" fmla="*/ 254 h 408"/>
                  <a:gd name="T10" fmla="*/ 327 w 512"/>
                  <a:gd name="T11" fmla="*/ 306 h 408"/>
                  <a:gd name="T12" fmla="*/ 305 w 512"/>
                  <a:gd name="T13" fmla="*/ 335 h 408"/>
                  <a:gd name="T14" fmla="*/ 289 w 512"/>
                  <a:gd name="T15" fmla="*/ 350 h 408"/>
                  <a:gd name="T16" fmla="*/ 271 w 512"/>
                  <a:gd name="T17" fmla="*/ 359 h 408"/>
                  <a:gd name="T18" fmla="*/ 256 w 512"/>
                  <a:gd name="T19" fmla="*/ 368 h 408"/>
                  <a:gd name="T20" fmla="*/ 253 w 512"/>
                  <a:gd name="T21" fmla="*/ 376 h 408"/>
                  <a:gd name="T22" fmla="*/ 215 w 512"/>
                  <a:gd name="T23" fmla="*/ 370 h 408"/>
                  <a:gd name="T24" fmla="*/ 183 w 512"/>
                  <a:gd name="T25" fmla="*/ 367 h 408"/>
                  <a:gd name="T26" fmla="*/ 155 w 512"/>
                  <a:gd name="T27" fmla="*/ 373 h 408"/>
                  <a:gd name="T28" fmla="*/ 138 w 512"/>
                  <a:gd name="T29" fmla="*/ 388 h 408"/>
                  <a:gd name="T30" fmla="*/ 97 w 512"/>
                  <a:gd name="T31" fmla="*/ 405 h 408"/>
                  <a:gd name="T32" fmla="*/ 62 w 512"/>
                  <a:gd name="T33" fmla="*/ 407 h 408"/>
                  <a:gd name="T34" fmla="*/ 45 w 512"/>
                  <a:gd name="T35" fmla="*/ 400 h 408"/>
                  <a:gd name="T36" fmla="*/ 15 w 512"/>
                  <a:gd name="T37" fmla="*/ 368 h 408"/>
                  <a:gd name="T38" fmla="*/ 2 w 512"/>
                  <a:gd name="T39" fmla="*/ 344 h 408"/>
                  <a:gd name="T40" fmla="*/ 8 w 512"/>
                  <a:gd name="T41" fmla="*/ 335 h 408"/>
                  <a:gd name="T42" fmla="*/ 34 w 512"/>
                  <a:gd name="T43" fmla="*/ 344 h 408"/>
                  <a:gd name="T44" fmla="*/ 53 w 512"/>
                  <a:gd name="T45" fmla="*/ 336 h 408"/>
                  <a:gd name="T46" fmla="*/ 56 w 512"/>
                  <a:gd name="T47" fmla="*/ 314 h 408"/>
                  <a:gd name="T48" fmla="*/ 71 w 512"/>
                  <a:gd name="T49" fmla="*/ 300 h 408"/>
                  <a:gd name="T50" fmla="*/ 82 w 512"/>
                  <a:gd name="T51" fmla="*/ 286 h 408"/>
                  <a:gd name="T52" fmla="*/ 89 w 512"/>
                  <a:gd name="T53" fmla="*/ 272 h 408"/>
                  <a:gd name="T54" fmla="*/ 101 w 512"/>
                  <a:gd name="T55" fmla="*/ 262 h 408"/>
                  <a:gd name="T56" fmla="*/ 137 w 512"/>
                  <a:gd name="T57" fmla="*/ 246 h 408"/>
                  <a:gd name="T58" fmla="*/ 175 w 512"/>
                  <a:gd name="T59" fmla="*/ 232 h 408"/>
                  <a:gd name="T60" fmla="*/ 202 w 512"/>
                  <a:gd name="T61" fmla="*/ 217 h 408"/>
                  <a:gd name="T62" fmla="*/ 213 w 512"/>
                  <a:gd name="T63" fmla="*/ 205 h 408"/>
                  <a:gd name="T64" fmla="*/ 219 w 512"/>
                  <a:gd name="T65" fmla="*/ 191 h 408"/>
                  <a:gd name="T66" fmla="*/ 227 w 512"/>
                  <a:gd name="T67" fmla="*/ 161 h 408"/>
                  <a:gd name="T68" fmla="*/ 229 w 512"/>
                  <a:gd name="T69" fmla="*/ 149 h 408"/>
                  <a:gd name="T70" fmla="*/ 231 w 512"/>
                  <a:gd name="T71" fmla="*/ 152 h 408"/>
                  <a:gd name="T72" fmla="*/ 239 w 512"/>
                  <a:gd name="T73" fmla="*/ 143 h 408"/>
                  <a:gd name="T74" fmla="*/ 237 w 512"/>
                  <a:gd name="T75" fmla="*/ 155 h 408"/>
                  <a:gd name="T76" fmla="*/ 240 w 512"/>
                  <a:gd name="T77" fmla="*/ 174 h 408"/>
                  <a:gd name="T78" fmla="*/ 251 w 512"/>
                  <a:gd name="T79" fmla="*/ 193 h 408"/>
                  <a:gd name="T80" fmla="*/ 272 w 512"/>
                  <a:gd name="T81" fmla="*/ 205 h 408"/>
                  <a:gd name="T82" fmla="*/ 306 w 512"/>
                  <a:gd name="T83" fmla="*/ 204 h 408"/>
                  <a:gd name="T84" fmla="*/ 320 w 512"/>
                  <a:gd name="T85" fmla="*/ 205 h 408"/>
                  <a:gd name="T86" fmla="*/ 327 w 512"/>
                  <a:gd name="T87" fmla="*/ 198 h 408"/>
                  <a:gd name="T88" fmla="*/ 324 w 512"/>
                  <a:gd name="T89" fmla="*/ 176 h 408"/>
                  <a:gd name="T90" fmla="*/ 299 w 512"/>
                  <a:gd name="T91" fmla="*/ 130 h 408"/>
                  <a:gd name="T92" fmla="*/ 319 w 512"/>
                  <a:gd name="T93" fmla="*/ 109 h 408"/>
                  <a:gd name="T94" fmla="*/ 344 w 512"/>
                  <a:gd name="T95" fmla="*/ 66 h 408"/>
                  <a:gd name="T96" fmla="*/ 374 w 512"/>
                  <a:gd name="T97" fmla="*/ 22 h 408"/>
                  <a:gd name="T98" fmla="*/ 399 w 512"/>
                  <a:gd name="T99" fmla="*/ 0 h 408"/>
                  <a:gd name="T100" fmla="*/ 401 w 512"/>
                  <a:gd name="T101" fmla="*/ 23 h 408"/>
                  <a:gd name="T102" fmla="*/ 413 w 512"/>
                  <a:gd name="T103" fmla="*/ 50 h 408"/>
                  <a:gd name="T104" fmla="*/ 439 w 512"/>
                  <a:gd name="T105" fmla="*/ 75 h 408"/>
                  <a:gd name="T106" fmla="*/ 486 w 512"/>
                  <a:gd name="T107" fmla="*/ 106 h 408"/>
                  <a:gd name="T108" fmla="*/ 508 w 512"/>
                  <a:gd name="T109" fmla="*/ 132 h 408"/>
                  <a:gd name="T110" fmla="*/ 499 w 512"/>
                  <a:gd name="T111" fmla="*/ 149 h 408"/>
                  <a:gd name="T112" fmla="*/ 478 w 512"/>
                  <a:gd name="T113" fmla="*/ 152 h 408"/>
                  <a:gd name="T114" fmla="*/ 458 w 512"/>
                  <a:gd name="T115" fmla="*/ 180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 dirty="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</p:grpSp>
        <p:sp>
          <p:nvSpPr>
            <p:cNvPr id="10" name="Freeform 4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2519363" y="5394325"/>
              <a:ext cx="33337" cy="57150"/>
            </a:xfrm>
            <a:custGeom>
              <a:avLst/>
              <a:gdLst>
                <a:gd name="T0" fmla="*/ 0 w 73"/>
                <a:gd name="T1" fmla="*/ 0 h 20"/>
                <a:gd name="T2" fmla="*/ 1 w 73"/>
                <a:gd name="T3" fmla="*/ 5 h 20"/>
                <a:gd name="T4" fmla="*/ 4 w 73"/>
                <a:gd name="T5" fmla="*/ 10 h 20"/>
                <a:gd name="T6" fmla="*/ 8 w 73"/>
                <a:gd name="T7" fmla="*/ 14 h 20"/>
                <a:gd name="T8" fmla="*/ 13 w 73"/>
                <a:gd name="T9" fmla="*/ 20 h 20"/>
                <a:gd name="T10" fmla="*/ 16 w 73"/>
                <a:gd name="T11" fmla="*/ 17 h 20"/>
                <a:gd name="T12" fmla="*/ 19 w 73"/>
                <a:gd name="T13" fmla="*/ 13 h 20"/>
                <a:gd name="T14" fmla="*/ 23 w 73"/>
                <a:gd name="T15" fmla="*/ 11 h 20"/>
                <a:gd name="T16" fmla="*/ 27 w 73"/>
                <a:gd name="T17" fmla="*/ 10 h 20"/>
                <a:gd name="T18" fmla="*/ 36 w 73"/>
                <a:gd name="T19" fmla="*/ 8 h 20"/>
                <a:gd name="T20" fmla="*/ 46 w 73"/>
                <a:gd name="T21" fmla="*/ 7 h 20"/>
                <a:gd name="T22" fmla="*/ 54 w 73"/>
                <a:gd name="T23" fmla="*/ 7 h 20"/>
                <a:gd name="T24" fmla="*/ 63 w 73"/>
                <a:gd name="T25" fmla="*/ 6 h 20"/>
                <a:gd name="T26" fmla="*/ 66 w 73"/>
                <a:gd name="T27" fmla="*/ 5 h 20"/>
                <a:gd name="T28" fmla="*/ 69 w 73"/>
                <a:gd name="T29" fmla="*/ 4 h 20"/>
                <a:gd name="T30" fmla="*/ 71 w 73"/>
                <a:gd name="T31" fmla="*/ 2 h 20"/>
                <a:gd name="T32" fmla="*/ 73 w 73"/>
                <a:gd name="T33" fmla="*/ 0 h 20"/>
                <a:gd name="T34" fmla="*/ 0 w 73"/>
                <a:gd name="T3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1" name="Freeform 5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677863" y="1495425"/>
              <a:ext cx="784225" cy="446088"/>
            </a:xfrm>
            <a:custGeom>
              <a:avLst/>
              <a:gdLst>
                <a:gd name="T0" fmla="*/ 1395 w 1808"/>
                <a:gd name="T1" fmla="*/ 807 h 850"/>
                <a:gd name="T2" fmla="*/ 1394 w 1808"/>
                <a:gd name="T3" fmla="*/ 753 h 850"/>
                <a:gd name="T4" fmla="*/ 1373 w 1808"/>
                <a:gd name="T5" fmla="*/ 648 h 850"/>
                <a:gd name="T6" fmla="*/ 1323 w 1808"/>
                <a:gd name="T7" fmla="*/ 641 h 850"/>
                <a:gd name="T8" fmla="*/ 1264 w 1808"/>
                <a:gd name="T9" fmla="*/ 639 h 850"/>
                <a:gd name="T10" fmla="*/ 1134 w 1808"/>
                <a:gd name="T11" fmla="*/ 582 h 850"/>
                <a:gd name="T12" fmla="*/ 973 w 1808"/>
                <a:gd name="T13" fmla="*/ 537 h 850"/>
                <a:gd name="T14" fmla="*/ 943 w 1808"/>
                <a:gd name="T15" fmla="*/ 504 h 850"/>
                <a:gd name="T16" fmla="*/ 901 w 1808"/>
                <a:gd name="T17" fmla="*/ 516 h 850"/>
                <a:gd name="T18" fmla="*/ 849 w 1808"/>
                <a:gd name="T19" fmla="*/ 570 h 850"/>
                <a:gd name="T20" fmla="*/ 675 w 1808"/>
                <a:gd name="T21" fmla="*/ 619 h 850"/>
                <a:gd name="T22" fmla="*/ 678 w 1808"/>
                <a:gd name="T23" fmla="*/ 578 h 850"/>
                <a:gd name="T24" fmla="*/ 721 w 1808"/>
                <a:gd name="T25" fmla="*/ 548 h 850"/>
                <a:gd name="T26" fmla="*/ 786 w 1808"/>
                <a:gd name="T27" fmla="*/ 545 h 850"/>
                <a:gd name="T28" fmla="*/ 724 w 1808"/>
                <a:gd name="T29" fmla="*/ 528 h 850"/>
                <a:gd name="T30" fmla="*/ 578 w 1808"/>
                <a:gd name="T31" fmla="*/ 589 h 850"/>
                <a:gd name="T32" fmla="*/ 547 w 1808"/>
                <a:gd name="T33" fmla="*/ 625 h 850"/>
                <a:gd name="T34" fmla="*/ 526 w 1808"/>
                <a:gd name="T35" fmla="*/ 650 h 850"/>
                <a:gd name="T36" fmla="*/ 452 w 1808"/>
                <a:gd name="T37" fmla="*/ 654 h 850"/>
                <a:gd name="T38" fmla="*/ 383 w 1808"/>
                <a:gd name="T39" fmla="*/ 702 h 850"/>
                <a:gd name="T40" fmla="*/ 252 w 1808"/>
                <a:gd name="T41" fmla="*/ 750 h 850"/>
                <a:gd name="T42" fmla="*/ 105 w 1808"/>
                <a:gd name="T43" fmla="*/ 807 h 850"/>
                <a:gd name="T44" fmla="*/ 4 w 1808"/>
                <a:gd name="T45" fmla="*/ 813 h 850"/>
                <a:gd name="T46" fmla="*/ 14 w 1808"/>
                <a:gd name="T47" fmla="*/ 789 h 850"/>
                <a:gd name="T48" fmla="*/ 127 w 1808"/>
                <a:gd name="T49" fmla="*/ 761 h 850"/>
                <a:gd name="T50" fmla="*/ 265 w 1808"/>
                <a:gd name="T51" fmla="*/ 696 h 850"/>
                <a:gd name="T52" fmla="*/ 300 w 1808"/>
                <a:gd name="T53" fmla="*/ 626 h 850"/>
                <a:gd name="T54" fmla="*/ 253 w 1808"/>
                <a:gd name="T55" fmla="*/ 657 h 850"/>
                <a:gd name="T56" fmla="*/ 150 w 1808"/>
                <a:gd name="T57" fmla="*/ 643 h 850"/>
                <a:gd name="T58" fmla="*/ 172 w 1808"/>
                <a:gd name="T59" fmla="*/ 610 h 850"/>
                <a:gd name="T60" fmla="*/ 240 w 1808"/>
                <a:gd name="T61" fmla="*/ 547 h 850"/>
                <a:gd name="T62" fmla="*/ 152 w 1808"/>
                <a:gd name="T63" fmla="*/ 575 h 850"/>
                <a:gd name="T64" fmla="*/ 143 w 1808"/>
                <a:gd name="T65" fmla="*/ 536 h 850"/>
                <a:gd name="T66" fmla="*/ 346 w 1808"/>
                <a:gd name="T67" fmla="*/ 380 h 850"/>
                <a:gd name="T68" fmla="*/ 444 w 1808"/>
                <a:gd name="T69" fmla="*/ 382 h 850"/>
                <a:gd name="T70" fmla="*/ 569 w 1808"/>
                <a:gd name="T71" fmla="*/ 349 h 850"/>
                <a:gd name="T72" fmla="*/ 592 w 1808"/>
                <a:gd name="T73" fmla="*/ 306 h 850"/>
                <a:gd name="T74" fmla="*/ 506 w 1808"/>
                <a:gd name="T75" fmla="*/ 331 h 850"/>
                <a:gd name="T76" fmla="*/ 438 w 1808"/>
                <a:gd name="T77" fmla="*/ 318 h 850"/>
                <a:gd name="T78" fmla="*/ 472 w 1808"/>
                <a:gd name="T79" fmla="*/ 287 h 850"/>
                <a:gd name="T80" fmla="*/ 711 w 1808"/>
                <a:gd name="T81" fmla="*/ 238 h 850"/>
                <a:gd name="T82" fmla="*/ 749 w 1808"/>
                <a:gd name="T83" fmla="*/ 210 h 850"/>
                <a:gd name="T84" fmla="*/ 684 w 1808"/>
                <a:gd name="T85" fmla="*/ 176 h 850"/>
                <a:gd name="T86" fmla="*/ 739 w 1808"/>
                <a:gd name="T87" fmla="*/ 109 h 850"/>
                <a:gd name="T88" fmla="*/ 988 w 1808"/>
                <a:gd name="T89" fmla="*/ 27 h 850"/>
                <a:gd name="T90" fmla="*/ 1157 w 1808"/>
                <a:gd name="T91" fmla="*/ 9 h 850"/>
                <a:gd name="T92" fmla="*/ 1277 w 1808"/>
                <a:gd name="T93" fmla="*/ 2 h 850"/>
                <a:gd name="T94" fmla="*/ 1354 w 1808"/>
                <a:gd name="T95" fmla="*/ 10 h 850"/>
                <a:gd name="T96" fmla="*/ 1516 w 1808"/>
                <a:gd name="T97" fmla="*/ 34 h 850"/>
                <a:gd name="T98" fmla="*/ 1761 w 1808"/>
                <a:gd name="T99" fmla="*/ 41 h 850"/>
                <a:gd name="T100" fmla="*/ 1287 w 1808"/>
                <a:gd name="T101" fmla="*/ 540 h 850"/>
                <a:gd name="T102" fmla="*/ 1321 w 1808"/>
                <a:gd name="T103" fmla="*/ 571 h 850"/>
                <a:gd name="T104" fmla="*/ 1327 w 1808"/>
                <a:gd name="T105" fmla="*/ 601 h 850"/>
                <a:gd name="T106" fmla="*/ 1382 w 1808"/>
                <a:gd name="T107" fmla="*/ 599 h 850"/>
                <a:gd name="T108" fmla="*/ 1429 w 1808"/>
                <a:gd name="T109" fmla="*/ 577 h 850"/>
                <a:gd name="T110" fmla="*/ 1475 w 1808"/>
                <a:gd name="T111" fmla="*/ 667 h 850"/>
                <a:gd name="T112" fmla="*/ 1462 w 1808"/>
                <a:gd name="T113" fmla="*/ 706 h 850"/>
                <a:gd name="T114" fmla="*/ 1449 w 1808"/>
                <a:gd name="T115" fmla="*/ 742 h 850"/>
                <a:gd name="T116" fmla="*/ 1477 w 1808"/>
                <a:gd name="T117" fmla="*/ 783 h 850"/>
                <a:gd name="T118" fmla="*/ 1477 w 1808"/>
                <a:gd name="T119" fmla="*/ 811 h 850"/>
                <a:gd name="T120" fmla="*/ 1426 w 1808"/>
                <a:gd name="T121" fmla="*/ 848 h 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2" name="Freeform 6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1138238" y="2111375"/>
              <a:ext cx="1381125" cy="769938"/>
            </a:xfrm>
            <a:custGeom>
              <a:avLst/>
              <a:gdLst>
                <a:gd name="T0" fmla="*/ 2928 w 3175"/>
                <a:gd name="T1" fmla="*/ 353 h 1472"/>
                <a:gd name="T2" fmla="*/ 2896 w 3175"/>
                <a:gd name="T3" fmla="*/ 440 h 1472"/>
                <a:gd name="T4" fmla="*/ 2843 w 3175"/>
                <a:gd name="T5" fmla="*/ 462 h 1472"/>
                <a:gd name="T6" fmla="*/ 2667 w 3175"/>
                <a:gd name="T7" fmla="*/ 566 h 1472"/>
                <a:gd name="T8" fmla="*/ 2595 w 3175"/>
                <a:gd name="T9" fmla="*/ 585 h 1472"/>
                <a:gd name="T10" fmla="*/ 2570 w 3175"/>
                <a:gd name="T11" fmla="*/ 677 h 1472"/>
                <a:gd name="T12" fmla="*/ 2514 w 3175"/>
                <a:gd name="T13" fmla="*/ 621 h 1472"/>
                <a:gd name="T14" fmla="*/ 2499 w 3175"/>
                <a:gd name="T15" fmla="*/ 690 h 1472"/>
                <a:gd name="T16" fmla="*/ 2465 w 3175"/>
                <a:gd name="T17" fmla="*/ 744 h 1472"/>
                <a:gd name="T18" fmla="*/ 2471 w 3175"/>
                <a:gd name="T19" fmla="*/ 823 h 1472"/>
                <a:gd name="T20" fmla="*/ 2332 w 3175"/>
                <a:gd name="T21" fmla="*/ 928 h 1472"/>
                <a:gd name="T22" fmla="*/ 2165 w 3175"/>
                <a:gd name="T23" fmla="*/ 1045 h 1472"/>
                <a:gd name="T24" fmla="*/ 2112 w 3175"/>
                <a:gd name="T25" fmla="*/ 1195 h 1472"/>
                <a:gd name="T26" fmla="*/ 2103 w 3175"/>
                <a:gd name="T27" fmla="*/ 1457 h 1472"/>
                <a:gd name="T28" fmla="*/ 2026 w 3175"/>
                <a:gd name="T29" fmla="*/ 1414 h 1472"/>
                <a:gd name="T30" fmla="*/ 1993 w 3175"/>
                <a:gd name="T31" fmla="*/ 1326 h 1472"/>
                <a:gd name="T32" fmla="*/ 1959 w 3175"/>
                <a:gd name="T33" fmla="*/ 1184 h 1472"/>
                <a:gd name="T34" fmla="*/ 1832 w 3175"/>
                <a:gd name="T35" fmla="*/ 1168 h 1472"/>
                <a:gd name="T36" fmla="*/ 1653 w 3175"/>
                <a:gd name="T37" fmla="*/ 1143 h 1472"/>
                <a:gd name="T38" fmla="*/ 1616 w 3175"/>
                <a:gd name="T39" fmla="*/ 1186 h 1472"/>
                <a:gd name="T40" fmla="*/ 1548 w 3175"/>
                <a:gd name="T41" fmla="*/ 1238 h 1472"/>
                <a:gd name="T42" fmla="*/ 1436 w 3175"/>
                <a:gd name="T43" fmla="*/ 1192 h 1472"/>
                <a:gd name="T44" fmla="*/ 1231 w 3175"/>
                <a:gd name="T45" fmla="*/ 1272 h 1472"/>
                <a:gd name="T46" fmla="*/ 1160 w 3175"/>
                <a:gd name="T47" fmla="*/ 1392 h 1472"/>
                <a:gd name="T48" fmla="*/ 1080 w 3175"/>
                <a:gd name="T49" fmla="*/ 1382 h 1472"/>
                <a:gd name="T50" fmla="*/ 1037 w 3175"/>
                <a:gd name="T51" fmla="*/ 1227 h 1472"/>
                <a:gd name="T52" fmla="*/ 940 w 3175"/>
                <a:gd name="T53" fmla="*/ 1190 h 1472"/>
                <a:gd name="T54" fmla="*/ 867 w 3175"/>
                <a:gd name="T55" fmla="*/ 1219 h 1472"/>
                <a:gd name="T56" fmla="*/ 782 w 3175"/>
                <a:gd name="T57" fmla="*/ 1087 h 1472"/>
                <a:gd name="T58" fmla="*/ 670 w 3175"/>
                <a:gd name="T59" fmla="*/ 1065 h 1472"/>
                <a:gd name="T60" fmla="*/ 462 w 3175"/>
                <a:gd name="T61" fmla="*/ 1065 h 1472"/>
                <a:gd name="T62" fmla="*/ 220 w 3175"/>
                <a:gd name="T63" fmla="*/ 1016 h 1472"/>
                <a:gd name="T64" fmla="*/ 88 w 3175"/>
                <a:gd name="T65" fmla="*/ 920 h 1472"/>
                <a:gd name="T66" fmla="*/ 39 w 3175"/>
                <a:gd name="T67" fmla="*/ 848 h 1472"/>
                <a:gd name="T68" fmla="*/ 29 w 3175"/>
                <a:gd name="T69" fmla="*/ 662 h 1472"/>
                <a:gd name="T70" fmla="*/ 0 w 3175"/>
                <a:gd name="T71" fmla="*/ 604 h 1472"/>
                <a:gd name="T72" fmla="*/ 141 w 3175"/>
                <a:gd name="T73" fmla="*/ 336 h 1472"/>
                <a:gd name="T74" fmla="*/ 247 w 3175"/>
                <a:gd name="T75" fmla="*/ 176 h 1472"/>
                <a:gd name="T76" fmla="*/ 355 w 3175"/>
                <a:gd name="T77" fmla="*/ 102 h 1472"/>
                <a:gd name="T78" fmla="*/ 376 w 3175"/>
                <a:gd name="T79" fmla="*/ 120 h 1472"/>
                <a:gd name="T80" fmla="*/ 1827 w 3175"/>
                <a:gd name="T81" fmla="*/ 0 h 1472"/>
                <a:gd name="T82" fmla="*/ 1926 w 3175"/>
                <a:gd name="T83" fmla="*/ 55 h 1472"/>
                <a:gd name="T84" fmla="*/ 2015 w 3175"/>
                <a:gd name="T85" fmla="*/ 69 h 1472"/>
                <a:gd name="T86" fmla="*/ 1929 w 3175"/>
                <a:gd name="T87" fmla="*/ 128 h 1472"/>
                <a:gd name="T88" fmla="*/ 1977 w 3175"/>
                <a:gd name="T89" fmla="*/ 166 h 1472"/>
                <a:gd name="T90" fmla="*/ 2094 w 3175"/>
                <a:gd name="T91" fmla="*/ 155 h 1472"/>
                <a:gd name="T92" fmla="*/ 2284 w 3175"/>
                <a:gd name="T93" fmla="*/ 193 h 1472"/>
                <a:gd name="T94" fmla="*/ 2217 w 3175"/>
                <a:gd name="T95" fmla="*/ 204 h 1472"/>
                <a:gd name="T96" fmla="*/ 2087 w 3175"/>
                <a:gd name="T97" fmla="*/ 264 h 1472"/>
                <a:gd name="T98" fmla="*/ 2021 w 3175"/>
                <a:gd name="T99" fmla="*/ 355 h 1472"/>
                <a:gd name="T100" fmla="*/ 2012 w 3175"/>
                <a:gd name="T101" fmla="*/ 451 h 1472"/>
                <a:gd name="T102" fmla="*/ 2076 w 3175"/>
                <a:gd name="T103" fmla="*/ 417 h 1472"/>
                <a:gd name="T104" fmla="*/ 2205 w 3175"/>
                <a:gd name="T105" fmla="*/ 252 h 1472"/>
                <a:gd name="T106" fmla="*/ 2267 w 3175"/>
                <a:gd name="T107" fmla="*/ 303 h 1472"/>
                <a:gd name="T108" fmla="*/ 2299 w 3175"/>
                <a:gd name="T109" fmla="*/ 394 h 1472"/>
                <a:gd name="T110" fmla="*/ 2206 w 3175"/>
                <a:gd name="T111" fmla="*/ 454 h 1472"/>
                <a:gd name="T112" fmla="*/ 2317 w 3175"/>
                <a:gd name="T113" fmla="*/ 457 h 1472"/>
                <a:gd name="T114" fmla="*/ 2570 w 3175"/>
                <a:gd name="T115" fmla="*/ 373 h 1472"/>
                <a:gd name="T116" fmla="*/ 2730 w 3175"/>
                <a:gd name="T117" fmla="*/ 252 h 1472"/>
                <a:gd name="T118" fmla="*/ 3016 w 3175"/>
                <a:gd name="T119" fmla="*/ 203 h 1472"/>
                <a:gd name="T120" fmla="*/ 3136 w 3175"/>
                <a:gd name="T121" fmla="*/ 118 h 1472"/>
                <a:gd name="T122" fmla="*/ 3149 w 3175"/>
                <a:gd name="T123" fmla="*/ 184 h 1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9" y="394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3" name="Freeform 7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971675" y="3662363"/>
              <a:ext cx="339725" cy="590550"/>
            </a:xfrm>
            <a:custGeom>
              <a:avLst/>
              <a:gdLst>
                <a:gd name="T0" fmla="*/ 583 w 784"/>
                <a:gd name="T1" fmla="*/ 277 h 1128"/>
                <a:gd name="T2" fmla="*/ 549 w 784"/>
                <a:gd name="T3" fmla="*/ 295 h 1128"/>
                <a:gd name="T4" fmla="*/ 484 w 784"/>
                <a:gd name="T5" fmla="*/ 387 h 1128"/>
                <a:gd name="T6" fmla="*/ 465 w 784"/>
                <a:gd name="T7" fmla="*/ 457 h 1128"/>
                <a:gd name="T8" fmla="*/ 481 w 784"/>
                <a:gd name="T9" fmla="*/ 522 h 1128"/>
                <a:gd name="T10" fmla="*/ 530 w 784"/>
                <a:gd name="T11" fmla="*/ 591 h 1128"/>
                <a:gd name="T12" fmla="*/ 579 w 784"/>
                <a:gd name="T13" fmla="*/ 616 h 1128"/>
                <a:gd name="T14" fmla="*/ 625 w 784"/>
                <a:gd name="T15" fmla="*/ 600 h 1128"/>
                <a:gd name="T16" fmla="*/ 654 w 784"/>
                <a:gd name="T17" fmla="*/ 653 h 1128"/>
                <a:gd name="T18" fmla="*/ 672 w 784"/>
                <a:gd name="T19" fmla="*/ 683 h 1128"/>
                <a:gd name="T20" fmla="*/ 714 w 784"/>
                <a:gd name="T21" fmla="*/ 687 h 1128"/>
                <a:gd name="T22" fmla="*/ 749 w 784"/>
                <a:gd name="T23" fmla="*/ 712 h 1128"/>
                <a:gd name="T24" fmla="*/ 770 w 784"/>
                <a:gd name="T25" fmla="*/ 756 h 1128"/>
                <a:gd name="T26" fmla="*/ 761 w 784"/>
                <a:gd name="T27" fmla="*/ 790 h 1128"/>
                <a:gd name="T28" fmla="*/ 760 w 784"/>
                <a:gd name="T29" fmla="*/ 825 h 1128"/>
                <a:gd name="T30" fmla="*/ 772 w 784"/>
                <a:gd name="T31" fmla="*/ 882 h 1128"/>
                <a:gd name="T32" fmla="*/ 758 w 784"/>
                <a:gd name="T33" fmla="*/ 932 h 1128"/>
                <a:gd name="T34" fmla="*/ 770 w 784"/>
                <a:gd name="T35" fmla="*/ 994 h 1128"/>
                <a:gd name="T36" fmla="*/ 763 w 784"/>
                <a:gd name="T37" fmla="*/ 1054 h 1128"/>
                <a:gd name="T38" fmla="*/ 691 w 784"/>
                <a:gd name="T39" fmla="*/ 1122 h 1128"/>
                <a:gd name="T40" fmla="*/ 648 w 784"/>
                <a:gd name="T41" fmla="*/ 1103 h 1128"/>
                <a:gd name="T42" fmla="*/ 602 w 784"/>
                <a:gd name="T43" fmla="*/ 1056 h 1128"/>
                <a:gd name="T44" fmla="*/ 463 w 784"/>
                <a:gd name="T45" fmla="*/ 998 h 1128"/>
                <a:gd name="T46" fmla="*/ 425 w 784"/>
                <a:gd name="T47" fmla="*/ 967 h 1128"/>
                <a:gd name="T48" fmla="*/ 331 w 784"/>
                <a:gd name="T49" fmla="*/ 894 h 1128"/>
                <a:gd name="T50" fmla="*/ 318 w 784"/>
                <a:gd name="T51" fmla="*/ 867 h 1128"/>
                <a:gd name="T52" fmla="*/ 328 w 784"/>
                <a:gd name="T53" fmla="*/ 815 h 1128"/>
                <a:gd name="T54" fmla="*/ 290 w 784"/>
                <a:gd name="T55" fmla="*/ 778 h 1128"/>
                <a:gd name="T56" fmla="*/ 259 w 784"/>
                <a:gd name="T57" fmla="*/ 745 h 1128"/>
                <a:gd name="T58" fmla="*/ 243 w 784"/>
                <a:gd name="T59" fmla="*/ 689 h 1128"/>
                <a:gd name="T60" fmla="*/ 153 w 784"/>
                <a:gd name="T61" fmla="*/ 530 h 1128"/>
                <a:gd name="T62" fmla="*/ 120 w 784"/>
                <a:gd name="T63" fmla="*/ 487 h 1128"/>
                <a:gd name="T64" fmla="*/ 90 w 784"/>
                <a:gd name="T65" fmla="*/ 432 h 1128"/>
                <a:gd name="T66" fmla="*/ 22 w 784"/>
                <a:gd name="T67" fmla="*/ 397 h 1128"/>
                <a:gd name="T68" fmla="*/ 0 w 784"/>
                <a:gd name="T69" fmla="*/ 363 h 1128"/>
                <a:gd name="T70" fmla="*/ 13 w 784"/>
                <a:gd name="T71" fmla="*/ 276 h 1128"/>
                <a:gd name="T72" fmla="*/ 28 w 784"/>
                <a:gd name="T73" fmla="*/ 246 h 1128"/>
                <a:gd name="T74" fmla="*/ 72 w 784"/>
                <a:gd name="T75" fmla="*/ 222 h 1128"/>
                <a:gd name="T76" fmla="*/ 95 w 784"/>
                <a:gd name="T77" fmla="*/ 272 h 1128"/>
                <a:gd name="T78" fmla="*/ 158 w 784"/>
                <a:gd name="T79" fmla="*/ 307 h 1128"/>
                <a:gd name="T80" fmla="*/ 184 w 784"/>
                <a:gd name="T81" fmla="*/ 271 h 1128"/>
                <a:gd name="T82" fmla="*/ 201 w 784"/>
                <a:gd name="T83" fmla="*/ 225 h 1128"/>
                <a:gd name="T84" fmla="*/ 270 w 784"/>
                <a:gd name="T85" fmla="*/ 170 h 1128"/>
                <a:gd name="T86" fmla="*/ 344 w 784"/>
                <a:gd name="T87" fmla="*/ 120 h 1128"/>
                <a:gd name="T88" fmla="*/ 357 w 784"/>
                <a:gd name="T89" fmla="*/ 70 h 1128"/>
                <a:gd name="T90" fmla="*/ 347 w 784"/>
                <a:gd name="T91" fmla="*/ 5 h 1128"/>
                <a:gd name="T92" fmla="*/ 422 w 784"/>
                <a:gd name="T93" fmla="*/ 53 h 1128"/>
                <a:gd name="T94" fmla="*/ 467 w 784"/>
                <a:gd name="T95" fmla="*/ 107 h 1128"/>
                <a:gd name="T96" fmla="*/ 506 w 784"/>
                <a:gd name="T97" fmla="*/ 154 h 1128"/>
                <a:gd name="T98" fmla="*/ 561 w 784"/>
                <a:gd name="T99" fmla="*/ 157 h 1128"/>
                <a:gd name="T100" fmla="*/ 617 w 784"/>
                <a:gd name="T101" fmla="*/ 149 h 1128"/>
                <a:gd name="T102" fmla="*/ 640 w 784"/>
                <a:gd name="T103" fmla="*/ 156 h 1128"/>
                <a:gd name="T104" fmla="*/ 654 w 784"/>
                <a:gd name="T105" fmla="*/ 193 h 1128"/>
                <a:gd name="T106" fmla="*/ 627 w 784"/>
                <a:gd name="T107" fmla="*/ 210 h 1128"/>
                <a:gd name="T108" fmla="*/ 627 w 784"/>
                <a:gd name="T109" fmla="*/ 240 h 1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4" name="Freeform 8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271713" y="4225925"/>
              <a:ext cx="261937" cy="1130300"/>
            </a:xfrm>
            <a:custGeom>
              <a:avLst/>
              <a:gdLst>
                <a:gd name="T0" fmla="*/ 418 w 598"/>
                <a:gd name="T1" fmla="*/ 2021 h 2158"/>
                <a:gd name="T2" fmla="*/ 342 w 598"/>
                <a:gd name="T3" fmla="*/ 1955 h 2158"/>
                <a:gd name="T4" fmla="*/ 339 w 598"/>
                <a:gd name="T5" fmla="*/ 1893 h 2158"/>
                <a:gd name="T6" fmla="*/ 345 w 598"/>
                <a:gd name="T7" fmla="*/ 1843 h 2158"/>
                <a:gd name="T8" fmla="*/ 362 w 598"/>
                <a:gd name="T9" fmla="*/ 1791 h 2158"/>
                <a:gd name="T10" fmla="*/ 354 w 598"/>
                <a:gd name="T11" fmla="*/ 1740 h 2158"/>
                <a:gd name="T12" fmla="*/ 332 w 598"/>
                <a:gd name="T13" fmla="*/ 1683 h 2158"/>
                <a:gd name="T14" fmla="*/ 303 w 598"/>
                <a:gd name="T15" fmla="*/ 1581 h 2158"/>
                <a:gd name="T16" fmla="*/ 226 w 598"/>
                <a:gd name="T17" fmla="*/ 1460 h 2158"/>
                <a:gd name="T18" fmla="*/ 206 w 598"/>
                <a:gd name="T19" fmla="*/ 1381 h 2158"/>
                <a:gd name="T20" fmla="*/ 217 w 598"/>
                <a:gd name="T21" fmla="*/ 1299 h 2158"/>
                <a:gd name="T22" fmla="*/ 208 w 598"/>
                <a:gd name="T23" fmla="*/ 1235 h 2158"/>
                <a:gd name="T24" fmla="*/ 185 w 598"/>
                <a:gd name="T25" fmla="*/ 1165 h 2158"/>
                <a:gd name="T26" fmla="*/ 211 w 598"/>
                <a:gd name="T27" fmla="*/ 1123 h 2158"/>
                <a:gd name="T28" fmla="*/ 195 w 598"/>
                <a:gd name="T29" fmla="*/ 1082 h 2158"/>
                <a:gd name="T30" fmla="*/ 211 w 598"/>
                <a:gd name="T31" fmla="*/ 1025 h 2158"/>
                <a:gd name="T32" fmla="*/ 210 w 598"/>
                <a:gd name="T33" fmla="*/ 993 h 2158"/>
                <a:gd name="T34" fmla="*/ 187 w 598"/>
                <a:gd name="T35" fmla="*/ 927 h 2158"/>
                <a:gd name="T36" fmla="*/ 136 w 598"/>
                <a:gd name="T37" fmla="*/ 852 h 2158"/>
                <a:gd name="T38" fmla="*/ 134 w 598"/>
                <a:gd name="T39" fmla="*/ 686 h 2158"/>
                <a:gd name="T40" fmla="*/ 183 w 598"/>
                <a:gd name="T41" fmla="*/ 584 h 2158"/>
                <a:gd name="T42" fmla="*/ 189 w 598"/>
                <a:gd name="T43" fmla="*/ 522 h 2158"/>
                <a:gd name="T44" fmla="*/ 160 w 598"/>
                <a:gd name="T45" fmla="*/ 459 h 2158"/>
                <a:gd name="T46" fmla="*/ 182 w 598"/>
                <a:gd name="T47" fmla="*/ 406 h 2158"/>
                <a:gd name="T48" fmla="*/ 229 w 598"/>
                <a:gd name="T49" fmla="*/ 346 h 2158"/>
                <a:gd name="T50" fmla="*/ 200 w 598"/>
                <a:gd name="T51" fmla="*/ 308 h 2158"/>
                <a:gd name="T52" fmla="*/ 148 w 598"/>
                <a:gd name="T53" fmla="*/ 222 h 2158"/>
                <a:gd name="T54" fmla="*/ 129 w 598"/>
                <a:gd name="T55" fmla="*/ 125 h 2158"/>
                <a:gd name="T56" fmla="*/ 91 w 598"/>
                <a:gd name="T57" fmla="*/ 37 h 2158"/>
                <a:gd name="T58" fmla="*/ 0 w 598"/>
                <a:gd name="T59" fmla="*/ 44 h 2158"/>
                <a:gd name="T60" fmla="*/ 31 w 598"/>
                <a:gd name="T61" fmla="*/ 200 h 2158"/>
                <a:gd name="T62" fmla="*/ 42 w 598"/>
                <a:gd name="T63" fmla="*/ 304 h 2158"/>
                <a:gd name="T64" fmla="*/ 27 w 598"/>
                <a:gd name="T65" fmla="*/ 374 h 2158"/>
                <a:gd name="T66" fmla="*/ 52 w 598"/>
                <a:gd name="T67" fmla="*/ 524 h 2158"/>
                <a:gd name="T68" fmla="*/ 46 w 598"/>
                <a:gd name="T69" fmla="*/ 649 h 2158"/>
                <a:gd name="T70" fmla="*/ 36 w 598"/>
                <a:gd name="T71" fmla="*/ 718 h 2158"/>
                <a:gd name="T72" fmla="*/ 52 w 598"/>
                <a:gd name="T73" fmla="*/ 767 h 2158"/>
                <a:gd name="T74" fmla="*/ 64 w 598"/>
                <a:gd name="T75" fmla="*/ 871 h 2158"/>
                <a:gd name="T76" fmla="*/ 81 w 598"/>
                <a:gd name="T77" fmla="*/ 913 h 2158"/>
                <a:gd name="T78" fmla="*/ 73 w 598"/>
                <a:gd name="T79" fmla="*/ 1045 h 2158"/>
                <a:gd name="T80" fmla="*/ 63 w 598"/>
                <a:gd name="T81" fmla="*/ 1152 h 2158"/>
                <a:gd name="T82" fmla="*/ 40 w 598"/>
                <a:gd name="T83" fmla="*/ 1188 h 2158"/>
                <a:gd name="T84" fmla="*/ 60 w 598"/>
                <a:gd name="T85" fmla="*/ 1258 h 2158"/>
                <a:gd name="T86" fmla="*/ 106 w 598"/>
                <a:gd name="T87" fmla="*/ 1343 h 2158"/>
                <a:gd name="T88" fmla="*/ 93 w 598"/>
                <a:gd name="T89" fmla="*/ 1396 h 2158"/>
                <a:gd name="T90" fmla="*/ 106 w 598"/>
                <a:gd name="T91" fmla="*/ 1449 h 2158"/>
                <a:gd name="T92" fmla="*/ 164 w 598"/>
                <a:gd name="T93" fmla="*/ 1467 h 2158"/>
                <a:gd name="T94" fmla="*/ 209 w 598"/>
                <a:gd name="T95" fmla="*/ 1621 h 2158"/>
                <a:gd name="T96" fmla="*/ 227 w 598"/>
                <a:gd name="T97" fmla="*/ 1709 h 2158"/>
                <a:gd name="T98" fmla="*/ 151 w 598"/>
                <a:gd name="T99" fmla="*/ 1749 h 2158"/>
                <a:gd name="T100" fmla="*/ 207 w 598"/>
                <a:gd name="T101" fmla="*/ 1776 h 2158"/>
                <a:gd name="T102" fmla="*/ 250 w 598"/>
                <a:gd name="T103" fmla="*/ 1820 h 2158"/>
                <a:gd name="T104" fmla="*/ 275 w 598"/>
                <a:gd name="T105" fmla="*/ 1871 h 2158"/>
                <a:gd name="T106" fmla="*/ 308 w 598"/>
                <a:gd name="T107" fmla="*/ 1961 h 2158"/>
                <a:gd name="T108" fmla="*/ 359 w 598"/>
                <a:gd name="T109" fmla="*/ 2013 h 2158"/>
                <a:gd name="T110" fmla="*/ 393 w 598"/>
                <a:gd name="T111" fmla="*/ 2048 h 2158"/>
                <a:gd name="T112" fmla="*/ 424 w 598"/>
                <a:gd name="T113" fmla="*/ 2074 h 2158"/>
                <a:gd name="T114" fmla="*/ 465 w 598"/>
                <a:gd name="T115" fmla="*/ 2110 h 2158"/>
                <a:gd name="T116" fmla="*/ 519 w 598"/>
                <a:gd name="T117" fmla="*/ 2140 h 2158"/>
                <a:gd name="T118" fmla="*/ 538 w 598"/>
                <a:gd name="T119" fmla="*/ 2151 h 2158"/>
                <a:gd name="T120" fmla="*/ 586 w 598"/>
                <a:gd name="T121" fmla="*/ 2098 h 2158"/>
                <a:gd name="T122" fmla="*/ 591 w 598"/>
                <a:gd name="T123" fmla="*/ 2071 h 2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5" name="Freeform 9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176463" y="3508375"/>
              <a:ext cx="966787" cy="1203325"/>
            </a:xfrm>
            <a:custGeom>
              <a:avLst/>
              <a:gdLst>
                <a:gd name="T0" fmla="*/ 440 w 2226"/>
                <a:gd name="T1" fmla="*/ 896 h 2292"/>
                <a:gd name="T2" fmla="*/ 505 w 2226"/>
                <a:gd name="T3" fmla="*/ 985 h 2292"/>
                <a:gd name="T4" fmla="*/ 572 w 2226"/>
                <a:gd name="T5" fmla="*/ 1054 h 2292"/>
                <a:gd name="T6" fmla="*/ 716 w 2226"/>
                <a:gd name="T7" fmla="*/ 1098 h 2292"/>
                <a:gd name="T8" fmla="*/ 798 w 2226"/>
                <a:gd name="T9" fmla="*/ 1204 h 2292"/>
                <a:gd name="T10" fmla="*/ 846 w 2226"/>
                <a:gd name="T11" fmla="*/ 1292 h 2292"/>
                <a:gd name="T12" fmla="*/ 939 w 2226"/>
                <a:gd name="T13" fmla="*/ 1355 h 2292"/>
                <a:gd name="T14" fmla="*/ 957 w 2226"/>
                <a:gd name="T15" fmla="*/ 1466 h 2292"/>
                <a:gd name="T16" fmla="*/ 976 w 2226"/>
                <a:gd name="T17" fmla="*/ 1541 h 2292"/>
                <a:gd name="T18" fmla="*/ 992 w 2226"/>
                <a:gd name="T19" fmla="*/ 1632 h 2292"/>
                <a:gd name="T20" fmla="*/ 1131 w 2226"/>
                <a:gd name="T21" fmla="*/ 1698 h 2292"/>
                <a:gd name="T22" fmla="*/ 1193 w 2226"/>
                <a:gd name="T23" fmla="*/ 1805 h 2292"/>
                <a:gd name="T24" fmla="*/ 1243 w 2226"/>
                <a:gd name="T25" fmla="*/ 1864 h 2292"/>
                <a:gd name="T26" fmla="*/ 1183 w 2226"/>
                <a:gd name="T27" fmla="*/ 2003 h 2292"/>
                <a:gd name="T28" fmla="*/ 1084 w 2226"/>
                <a:gd name="T29" fmla="*/ 2128 h 2292"/>
                <a:gd name="T30" fmla="*/ 1180 w 2226"/>
                <a:gd name="T31" fmla="*/ 2161 h 2292"/>
                <a:gd name="T32" fmla="*/ 1296 w 2226"/>
                <a:gd name="T33" fmla="*/ 2234 h 2292"/>
                <a:gd name="T34" fmla="*/ 1419 w 2226"/>
                <a:gd name="T35" fmla="*/ 2198 h 2292"/>
                <a:gd name="T36" fmla="*/ 1518 w 2226"/>
                <a:gd name="T37" fmla="*/ 2036 h 2292"/>
                <a:gd name="T38" fmla="*/ 1512 w 2226"/>
                <a:gd name="T39" fmla="*/ 1918 h 2292"/>
                <a:gd name="T40" fmla="*/ 1561 w 2226"/>
                <a:gd name="T41" fmla="*/ 1793 h 2292"/>
                <a:gd name="T42" fmla="*/ 1706 w 2226"/>
                <a:gd name="T43" fmla="*/ 1727 h 2292"/>
                <a:gd name="T44" fmla="*/ 1798 w 2226"/>
                <a:gd name="T45" fmla="*/ 1681 h 2292"/>
                <a:gd name="T46" fmla="*/ 1897 w 2226"/>
                <a:gd name="T47" fmla="*/ 1641 h 2292"/>
                <a:gd name="T48" fmla="*/ 1982 w 2226"/>
                <a:gd name="T49" fmla="*/ 1400 h 2292"/>
                <a:gd name="T50" fmla="*/ 2014 w 2226"/>
                <a:gd name="T51" fmla="*/ 1288 h 2292"/>
                <a:gd name="T52" fmla="*/ 2002 w 2226"/>
                <a:gd name="T53" fmla="*/ 1090 h 2292"/>
                <a:gd name="T54" fmla="*/ 2073 w 2226"/>
                <a:gd name="T55" fmla="*/ 1009 h 2292"/>
                <a:gd name="T56" fmla="*/ 2190 w 2226"/>
                <a:gd name="T57" fmla="*/ 877 h 2292"/>
                <a:gd name="T58" fmla="*/ 2222 w 2226"/>
                <a:gd name="T59" fmla="*/ 732 h 2292"/>
                <a:gd name="T60" fmla="*/ 2157 w 2226"/>
                <a:gd name="T61" fmla="*/ 599 h 2292"/>
                <a:gd name="T62" fmla="*/ 2059 w 2226"/>
                <a:gd name="T63" fmla="*/ 563 h 2292"/>
                <a:gd name="T64" fmla="*/ 1921 w 2226"/>
                <a:gd name="T65" fmla="*/ 462 h 2292"/>
                <a:gd name="T66" fmla="*/ 1742 w 2226"/>
                <a:gd name="T67" fmla="*/ 450 h 2292"/>
                <a:gd name="T68" fmla="*/ 1670 w 2226"/>
                <a:gd name="T69" fmla="*/ 447 h 2292"/>
                <a:gd name="T70" fmla="*/ 1636 w 2226"/>
                <a:gd name="T71" fmla="*/ 394 h 2292"/>
                <a:gd name="T72" fmla="*/ 1512 w 2226"/>
                <a:gd name="T73" fmla="*/ 348 h 2292"/>
                <a:gd name="T74" fmla="*/ 1411 w 2226"/>
                <a:gd name="T75" fmla="*/ 409 h 2292"/>
                <a:gd name="T76" fmla="*/ 1338 w 2226"/>
                <a:gd name="T77" fmla="*/ 405 h 2292"/>
                <a:gd name="T78" fmla="*/ 1247 w 2226"/>
                <a:gd name="T79" fmla="*/ 384 h 2292"/>
                <a:gd name="T80" fmla="*/ 1317 w 2226"/>
                <a:gd name="T81" fmla="*/ 268 h 2292"/>
                <a:gd name="T82" fmla="*/ 1338 w 2226"/>
                <a:gd name="T83" fmla="*/ 184 h 2292"/>
                <a:gd name="T84" fmla="*/ 1291 w 2226"/>
                <a:gd name="T85" fmla="*/ 68 h 2292"/>
                <a:gd name="T86" fmla="*/ 1124 w 2226"/>
                <a:gd name="T87" fmla="*/ 135 h 2292"/>
                <a:gd name="T88" fmla="*/ 1003 w 2226"/>
                <a:gd name="T89" fmla="*/ 170 h 2292"/>
                <a:gd name="T90" fmla="*/ 960 w 2226"/>
                <a:gd name="T91" fmla="*/ 187 h 2292"/>
                <a:gd name="T92" fmla="*/ 812 w 2226"/>
                <a:gd name="T93" fmla="*/ 176 h 2292"/>
                <a:gd name="T94" fmla="*/ 811 w 2226"/>
                <a:gd name="T95" fmla="*/ 67 h 2292"/>
                <a:gd name="T96" fmla="*/ 745 w 2226"/>
                <a:gd name="T97" fmla="*/ 0 h 2292"/>
                <a:gd name="T98" fmla="*/ 700 w 2226"/>
                <a:gd name="T99" fmla="*/ 31 h 2292"/>
                <a:gd name="T100" fmla="*/ 589 w 2226"/>
                <a:gd name="T101" fmla="*/ 70 h 2292"/>
                <a:gd name="T102" fmla="*/ 560 w 2226"/>
                <a:gd name="T103" fmla="*/ 198 h 2292"/>
                <a:gd name="T104" fmla="*/ 453 w 2226"/>
                <a:gd name="T105" fmla="*/ 258 h 2292"/>
                <a:gd name="T106" fmla="*/ 286 w 2226"/>
                <a:gd name="T107" fmla="*/ 197 h 2292"/>
                <a:gd name="T108" fmla="*/ 253 w 2226"/>
                <a:gd name="T109" fmla="*/ 240 h 2292"/>
                <a:gd name="T110" fmla="*/ 198 w 2226"/>
                <a:gd name="T111" fmla="*/ 311 h 2292"/>
                <a:gd name="T112" fmla="*/ 246 w 2226"/>
                <a:gd name="T113" fmla="*/ 388 h 2292"/>
                <a:gd name="T114" fmla="*/ 194 w 2226"/>
                <a:gd name="T115" fmla="*/ 560 h 2292"/>
                <a:gd name="T116" fmla="*/ 100 w 2226"/>
                <a:gd name="T117" fmla="*/ 567 h 2292"/>
                <a:gd name="T118" fmla="*/ 16 w 2226"/>
                <a:gd name="T119" fmla="*/ 687 h 2292"/>
                <a:gd name="T120" fmla="*/ 22 w 2226"/>
                <a:gd name="T121" fmla="*/ 824 h 2292"/>
                <a:gd name="T122" fmla="*/ 120 w 2226"/>
                <a:gd name="T123" fmla="*/ 905 h 2292"/>
                <a:gd name="T124" fmla="*/ 191 w 2226"/>
                <a:gd name="T125" fmla="*/ 949 h 2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6" name="Freeform 10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4289425" y="2454275"/>
              <a:ext cx="69850" cy="49213"/>
            </a:xfrm>
            <a:custGeom>
              <a:avLst/>
              <a:gdLst>
                <a:gd name="T0" fmla="*/ 94 w 161"/>
                <a:gd name="T1" fmla="*/ 0 h 93"/>
                <a:gd name="T2" fmla="*/ 107 w 161"/>
                <a:gd name="T3" fmla="*/ 18 h 93"/>
                <a:gd name="T4" fmla="*/ 112 w 161"/>
                <a:gd name="T5" fmla="*/ 12 h 93"/>
                <a:gd name="T6" fmla="*/ 117 w 161"/>
                <a:gd name="T7" fmla="*/ 8 h 93"/>
                <a:gd name="T8" fmla="*/ 122 w 161"/>
                <a:gd name="T9" fmla="*/ 5 h 93"/>
                <a:gd name="T10" fmla="*/ 127 w 161"/>
                <a:gd name="T11" fmla="*/ 3 h 93"/>
                <a:gd name="T12" fmla="*/ 137 w 161"/>
                <a:gd name="T13" fmla="*/ 1 h 93"/>
                <a:gd name="T14" fmla="*/ 148 w 161"/>
                <a:gd name="T15" fmla="*/ 0 h 93"/>
                <a:gd name="T16" fmla="*/ 151 w 161"/>
                <a:gd name="T17" fmla="*/ 0 h 93"/>
                <a:gd name="T18" fmla="*/ 161 w 161"/>
                <a:gd name="T19" fmla="*/ 0 h 93"/>
                <a:gd name="T20" fmla="*/ 161 w 161"/>
                <a:gd name="T21" fmla="*/ 92 h 93"/>
                <a:gd name="T22" fmla="*/ 155 w 161"/>
                <a:gd name="T23" fmla="*/ 93 h 93"/>
                <a:gd name="T24" fmla="*/ 150 w 161"/>
                <a:gd name="T25" fmla="*/ 93 h 93"/>
                <a:gd name="T26" fmla="*/ 145 w 161"/>
                <a:gd name="T27" fmla="*/ 92 h 93"/>
                <a:gd name="T28" fmla="*/ 140 w 161"/>
                <a:gd name="T29" fmla="*/ 91 h 93"/>
                <a:gd name="T30" fmla="*/ 129 w 161"/>
                <a:gd name="T31" fmla="*/ 88 h 93"/>
                <a:gd name="T32" fmla="*/ 120 w 161"/>
                <a:gd name="T33" fmla="*/ 82 h 93"/>
                <a:gd name="T34" fmla="*/ 111 w 161"/>
                <a:gd name="T35" fmla="*/ 75 h 93"/>
                <a:gd name="T36" fmla="*/ 104 w 161"/>
                <a:gd name="T37" fmla="*/ 67 h 93"/>
                <a:gd name="T38" fmla="*/ 97 w 161"/>
                <a:gd name="T39" fmla="*/ 59 h 93"/>
                <a:gd name="T40" fmla="*/ 94 w 161"/>
                <a:gd name="T41" fmla="*/ 49 h 93"/>
                <a:gd name="T42" fmla="*/ 92 w 161"/>
                <a:gd name="T43" fmla="*/ 50 h 93"/>
                <a:gd name="T44" fmla="*/ 89 w 161"/>
                <a:gd name="T45" fmla="*/ 51 h 93"/>
                <a:gd name="T46" fmla="*/ 86 w 161"/>
                <a:gd name="T47" fmla="*/ 51 h 93"/>
                <a:gd name="T48" fmla="*/ 84 w 161"/>
                <a:gd name="T49" fmla="*/ 51 h 93"/>
                <a:gd name="T50" fmla="*/ 78 w 161"/>
                <a:gd name="T51" fmla="*/ 50 h 93"/>
                <a:gd name="T52" fmla="*/ 74 w 161"/>
                <a:gd name="T53" fmla="*/ 49 h 93"/>
                <a:gd name="T54" fmla="*/ 65 w 161"/>
                <a:gd name="T55" fmla="*/ 48 h 93"/>
                <a:gd name="T56" fmla="*/ 55 w 161"/>
                <a:gd name="T57" fmla="*/ 45 h 93"/>
                <a:gd name="T58" fmla="*/ 44 w 161"/>
                <a:gd name="T59" fmla="*/ 40 h 93"/>
                <a:gd name="T60" fmla="*/ 32 w 161"/>
                <a:gd name="T61" fmla="*/ 34 h 93"/>
                <a:gd name="T62" fmla="*/ 21 w 161"/>
                <a:gd name="T63" fmla="*/ 26 h 93"/>
                <a:gd name="T64" fmla="*/ 12 w 161"/>
                <a:gd name="T65" fmla="*/ 18 h 93"/>
                <a:gd name="T66" fmla="*/ 8 w 161"/>
                <a:gd name="T67" fmla="*/ 14 h 93"/>
                <a:gd name="T68" fmla="*/ 5 w 161"/>
                <a:gd name="T69" fmla="*/ 9 h 93"/>
                <a:gd name="T70" fmla="*/ 3 w 161"/>
                <a:gd name="T71" fmla="*/ 5 h 93"/>
                <a:gd name="T72" fmla="*/ 0 w 161"/>
                <a:gd name="T73" fmla="*/ 0 h 93"/>
                <a:gd name="T74" fmla="*/ 94 w 161"/>
                <a:gd name="T75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7" name="Freeform 11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3787775" y="2328863"/>
              <a:ext cx="82550" cy="160337"/>
            </a:xfrm>
            <a:custGeom>
              <a:avLst/>
              <a:gdLst>
                <a:gd name="T0" fmla="*/ 38 w 192"/>
                <a:gd name="T1" fmla="*/ 3 h 307"/>
                <a:gd name="T2" fmla="*/ 37 w 192"/>
                <a:gd name="T3" fmla="*/ 0 h 307"/>
                <a:gd name="T4" fmla="*/ 57 w 192"/>
                <a:gd name="T5" fmla="*/ 3 h 307"/>
                <a:gd name="T6" fmla="*/ 110 w 192"/>
                <a:gd name="T7" fmla="*/ 14 h 307"/>
                <a:gd name="T8" fmla="*/ 155 w 192"/>
                <a:gd name="T9" fmla="*/ 25 h 307"/>
                <a:gd name="T10" fmla="*/ 181 w 192"/>
                <a:gd name="T11" fmla="*/ 28 h 307"/>
                <a:gd name="T12" fmla="*/ 192 w 192"/>
                <a:gd name="T13" fmla="*/ 35 h 307"/>
                <a:gd name="T14" fmla="*/ 188 w 192"/>
                <a:gd name="T15" fmla="*/ 47 h 307"/>
                <a:gd name="T16" fmla="*/ 175 w 192"/>
                <a:gd name="T17" fmla="*/ 82 h 307"/>
                <a:gd name="T18" fmla="*/ 158 w 192"/>
                <a:gd name="T19" fmla="*/ 127 h 307"/>
                <a:gd name="T20" fmla="*/ 147 w 192"/>
                <a:gd name="T21" fmla="*/ 165 h 307"/>
                <a:gd name="T22" fmla="*/ 146 w 192"/>
                <a:gd name="T23" fmla="*/ 207 h 307"/>
                <a:gd name="T24" fmla="*/ 144 w 192"/>
                <a:gd name="T25" fmla="*/ 249 h 307"/>
                <a:gd name="T26" fmla="*/ 134 w 192"/>
                <a:gd name="T27" fmla="*/ 277 h 307"/>
                <a:gd name="T28" fmla="*/ 106 w 192"/>
                <a:gd name="T29" fmla="*/ 296 h 307"/>
                <a:gd name="T30" fmla="*/ 83 w 192"/>
                <a:gd name="T31" fmla="*/ 303 h 307"/>
                <a:gd name="T32" fmla="*/ 72 w 192"/>
                <a:gd name="T33" fmla="*/ 307 h 307"/>
                <a:gd name="T34" fmla="*/ 52 w 192"/>
                <a:gd name="T35" fmla="*/ 305 h 307"/>
                <a:gd name="T36" fmla="*/ 32 w 192"/>
                <a:gd name="T37" fmla="*/ 291 h 307"/>
                <a:gd name="T38" fmla="*/ 30 w 192"/>
                <a:gd name="T39" fmla="*/ 277 h 307"/>
                <a:gd name="T40" fmla="*/ 22 w 192"/>
                <a:gd name="T41" fmla="*/ 257 h 307"/>
                <a:gd name="T42" fmla="*/ 10 w 192"/>
                <a:gd name="T43" fmla="*/ 231 h 307"/>
                <a:gd name="T44" fmla="*/ 2 w 192"/>
                <a:gd name="T45" fmla="*/ 211 h 307"/>
                <a:gd name="T46" fmla="*/ 0 w 192"/>
                <a:gd name="T47" fmla="*/ 197 h 307"/>
                <a:gd name="T48" fmla="*/ 0 w 192"/>
                <a:gd name="T49" fmla="*/ 180 h 307"/>
                <a:gd name="T50" fmla="*/ 2 w 192"/>
                <a:gd name="T51" fmla="*/ 165 h 307"/>
                <a:gd name="T52" fmla="*/ 11 w 192"/>
                <a:gd name="T53" fmla="*/ 145 h 307"/>
                <a:gd name="T54" fmla="*/ 33 w 192"/>
                <a:gd name="T55" fmla="*/ 109 h 307"/>
                <a:gd name="T56" fmla="*/ 48 w 192"/>
                <a:gd name="T57" fmla="*/ 81 h 307"/>
                <a:gd name="T58" fmla="*/ 52 w 192"/>
                <a:gd name="T59" fmla="*/ 62 h 307"/>
                <a:gd name="T60" fmla="*/ 53 w 192"/>
                <a:gd name="T61" fmla="*/ 41 h 307"/>
                <a:gd name="T62" fmla="*/ 55 w 192"/>
                <a:gd name="T63" fmla="*/ 30 h 307"/>
                <a:gd name="T64" fmla="*/ 57 w 192"/>
                <a:gd name="T65" fmla="*/ 26 h 307"/>
                <a:gd name="T66" fmla="*/ 60 w 192"/>
                <a:gd name="T67" fmla="*/ 22 h 307"/>
                <a:gd name="T68" fmla="*/ 44 w 192"/>
                <a:gd name="T69" fmla="*/ 7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8" name="Freeform 13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4227513" y="2117725"/>
              <a:ext cx="169862" cy="76200"/>
            </a:xfrm>
            <a:custGeom>
              <a:avLst/>
              <a:gdLst>
                <a:gd name="T0" fmla="*/ 190 w 382"/>
                <a:gd name="T1" fmla="*/ 21 h 148"/>
                <a:gd name="T2" fmla="*/ 177 w 382"/>
                <a:gd name="T3" fmla="*/ 31 h 148"/>
                <a:gd name="T4" fmla="*/ 174 w 382"/>
                <a:gd name="T5" fmla="*/ 45 h 148"/>
                <a:gd name="T6" fmla="*/ 168 w 382"/>
                <a:gd name="T7" fmla="*/ 53 h 148"/>
                <a:gd name="T8" fmla="*/ 166 w 382"/>
                <a:gd name="T9" fmla="*/ 61 h 148"/>
                <a:gd name="T10" fmla="*/ 177 w 382"/>
                <a:gd name="T11" fmla="*/ 74 h 148"/>
                <a:gd name="T12" fmla="*/ 155 w 382"/>
                <a:gd name="T13" fmla="*/ 86 h 148"/>
                <a:gd name="T14" fmla="*/ 108 w 382"/>
                <a:gd name="T15" fmla="*/ 96 h 148"/>
                <a:gd name="T16" fmla="*/ 77 w 382"/>
                <a:gd name="T17" fmla="*/ 97 h 148"/>
                <a:gd name="T18" fmla="*/ 52 w 382"/>
                <a:gd name="T19" fmla="*/ 95 h 148"/>
                <a:gd name="T20" fmla="*/ 4 w 382"/>
                <a:gd name="T21" fmla="*/ 111 h 148"/>
                <a:gd name="T22" fmla="*/ 0 w 382"/>
                <a:gd name="T23" fmla="*/ 129 h 148"/>
                <a:gd name="T24" fmla="*/ 4 w 382"/>
                <a:gd name="T25" fmla="*/ 131 h 148"/>
                <a:gd name="T26" fmla="*/ 12 w 382"/>
                <a:gd name="T27" fmla="*/ 131 h 148"/>
                <a:gd name="T28" fmla="*/ 51 w 382"/>
                <a:gd name="T29" fmla="*/ 129 h 148"/>
                <a:gd name="T30" fmla="*/ 114 w 382"/>
                <a:gd name="T31" fmla="*/ 127 h 148"/>
                <a:gd name="T32" fmla="*/ 123 w 382"/>
                <a:gd name="T33" fmla="*/ 134 h 148"/>
                <a:gd name="T34" fmla="*/ 137 w 382"/>
                <a:gd name="T35" fmla="*/ 141 h 148"/>
                <a:gd name="T36" fmla="*/ 159 w 382"/>
                <a:gd name="T37" fmla="*/ 147 h 148"/>
                <a:gd name="T38" fmla="*/ 185 w 382"/>
                <a:gd name="T39" fmla="*/ 148 h 148"/>
                <a:gd name="T40" fmla="*/ 210 w 382"/>
                <a:gd name="T41" fmla="*/ 148 h 148"/>
                <a:gd name="T42" fmla="*/ 233 w 382"/>
                <a:gd name="T43" fmla="*/ 148 h 148"/>
                <a:gd name="T44" fmla="*/ 255 w 382"/>
                <a:gd name="T45" fmla="*/ 148 h 148"/>
                <a:gd name="T46" fmla="*/ 275 w 382"/>
                <a:gd name="T47" fmla="*/ 143 h 148"/>
                <a:gd name="T48" fmla="*/ 301 w 382"/>
                <a:gd name="T49" fmla="*/ 134 h 148"/>
                <a:gd name="T50" fmla="*/ 334 w 382"/>
                <a:gd name="T51" fmla="*/ 121 h 148"/>
                <a:gd name="T52" fmla="*/ 353 w 382"/>
                <a:gd name="T53" fmla="*/ 103 h 148"/>
                <a:gd name="T54" fmla="*/ 372 w 382"/>
                <a:gd name="T55" fmla="*/ 72 h 148"/>
                <a:gd name="T56" fmla="*/ 376 w 382"/>
                <a:gd name="T57" fmla="*/ 52 h 148"/>
                <a:gd name="T58" fmla="*/ 363 w 382"/>
                <a:gd name="T59" fmla="*/ 44 h 148"/>
                <a:gd name="T60" fmla="*/ 357 w 382"/>
                <a:gd name="T61" fmla="*/ 32 h 148"/>
                <a:gd name="T62" fmla="*/ 347 w 382"/>
                <a:gd name="T63" fmla="*/ 22 h 148"/>
                <a:gd name="T64" fmla="*/ 334 w 382"/>
                <a:gd name="T65" fmla="*/ 17 h 148"/>
                <a:gd name="T66" fmla="*/ 319 w 382"/>
                <a:gd name="T67" fmla="*/ 8 h 148"/>
                <a:gd name="T68" fmla="*/ 203 w 382"/>
                <a:gd name="T69" fmla="*/ 1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9" name="Freeform 14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5719763" y="1966913"/>
              <a:ext cx="1281112" cy="1038225"/>
            </a:xfrm>
            <a:custGeom>
              <a:avLst/>
              <a:gdLst>
                <a:gd name="T0" fmla="*/ 373 w 2936"/>
                <a:gd name="T1" fmla="*/ 1071 h 1983"/>
                <a:gd name="T2" fmla="*/ 385 w 2936"/>
                <a:gd name="T3" fmla="*/ 1182 h 1983"/>
                <a:gd name="T4" fmla="*/ 478 w 2936"/>
                <a:gd name="T5" fmla="*/ 1358 h 1983"/>
                <a:gd name="T6" fmla="*/ 768 w 2936"/>
                <a:gd name="T7" fmla="*/ 1492 h 1983"/>
                <a:gd name="T8" fmla="*/ 1036 w 2936"/>
                <a:gd name="T9" fmla="*/ 1552 h 1983"/>
                <a:gd name="T10" fmla="*/ 1124 w 2936"/>
                <a:gd name="T11" fmla="*/ 1529 h 1983"/>
                <a:gd name="T12" fmla="*/ 1401 w 2936"/>
                <a:gd name="T13" fmla="*/ 1448 h 1983"/>
                <a:gd name="T14" fmla="*/ 1547 w 2936"/>
                <a:gd name="T15" fmla="*/ 1542 h 1983"/>
                <a:gd name="T16" fmla="*/ 1577 w 2936"/>
                <a:gd name="T17" fmla="*/ 1697 h 1983"/>
                <a:gd name="T18" fmla="*/ 1607 w 2936"/>
                <a:gd name="T19" fmla="*/ 1773 h 1983"/>
                <a:gd name="T20" fmla="*/ 1706 w 2936"/>
                <a:gd name="T21" fmla="*/ 1912 h 1983"/>
                <a:gd name="T22" fmla="*/ 1842 w 2936"/>
                <a:gd name="T23" fmla="*/ 1859 h 1983"/>
                <a:gd name="T24" fmla="*/ 2072 w 2936"/>
                <a:gd name="T25" fmla="*/ 1854 h 1983"/>
                <a:gd name="T26" fmla="*/ 2265 w 2936"/>
                <a:gd name="T27" fmla="*/ 1983 h 1983"/>
                <a:gd name="T28" fmla="*/ 2357 w 2936"/>
                <a:gd name="T29" fmla="*/ 1910 h 1983"/>
                <a:gd name="T30" fmla="*/ 2457 w 2936"/>
                <a:gd name="T31" fmla="*/ 1866 h 1983"/>
                <a:gd name="T32" fmla="*/ 2546 w 2936"/>
                <a:gd name="T33" fmla="*/ 1826 h 1983"/>
                <a:gd name="T34" fmla="*/ 2683 w 2936"/>
                <a:gd name="T35" fmla="*/ 1732 h 1983"/>
                <a:gd name="T36" fmla="*/ 2719 w 2936"/>
                <a:gd name="T37" fmla="*/ 1616 h 1983"/>
                <a:gd name="T38" fmla="*/ 2794 w 2936"/>
                <a:gd name="T39" fmla="*/ 1420 h 1983"/>
                <a:gd name="T40" fmla="*/ 2705 w 2936"/>
                <a:gd name="T41" fmla="*/ 1375 h 1983"/>
                <a:gd name="T42" fmla="*/ 2640 w 2936"/>
                <a:gd name="T43" fmla="*/ 1273 h 1983"/>
                <a:gd name="T44" fmla="*/ 2669 w 2936"/>
                <a:gd name="T45" fmla="*/ 1227 h 1983"/>
                <a:gd name="T46" fmla="*/ 2532 w 2936"/>
                <a:gd name="T47" fmla="*/ 1061 h 1983"/>
                <a:gd name="T48" fmla="*/ 2583 w 2936"/>
                <a:gd name="T49" fmla="*/ 993 h 1983"/>
                <a:gd name="T50" fmla="*/ 2453 w 2936"/>
                <a:gd name="T51" fmla="*/ 962 h 1983"/>
                <a:gd name="T52" fmla="*/ 2333 w 2936"/>
                <a:gd name="T53" fmla="*/ 887 h 1983"/>
                <a:gd name="T54" fmla="*/ 2368 w 2936"/>
                <a:gd name="T55" fmla="*/ 836 h 1983"/>
                <a:gd name="T56" fmla="*/ 2443 w 2936"/>
                <a:gd name="T57" fmla="*/ 756 h 1983"/>
                <a:gd name="T58" fmla="*/ 2496 w 2936"/>
                <a:gd name="T59" fmla="*/ 780 h 1983"/>
                <a:gd name="T60" fmla="*/ 2532 w 2936"/>
                <a:gd name="T61" fmla="*/ 853 h 1983"/>
                <a:gd name="T62" fmla="*/ 2689 w 2936"/>
                <a:gd name="T63" fmla="*/ 763 h 1983"/>
                <a:gd name="T64" fmla="*/ 2828 w 2936"/>
                <a:gd name="T65" fmla="*/ 673 h 1983"/>
                <a:gd name="T66" fmla="*/ 2886 w 2936"/>
                <a:gd name="T67" fmla="*/ 564 h 1983"/>
                <a:gd name="T68" fmla="*/ 2928 w 2936"/>
                <a:gd name="T69" fmla="*/ 494 h 1983"/>
                <a:gd name="T70" fmla="*/ 2893 w 2936"/>
                <a:gd name="T71" fmla="*/ 307 h 1983"/>
                <a:gd name="T72" fmla="*/ 2722 w 2936"/>
                <a:gd name="T73" fmla="*/ 341 h 1983"/>
                <a:gd name="T74" fmla="*/ 2461 w 2936"/>
                <a:gd name="T75" fmla="*/ 205 h 1983"/>
                <a:gd name="T76" fmla="*/ 2300 w 2936"/>
                <a:gd name="T77" fmla="*/ 89 h 1983"/>
                <a:gd name="T78" fmla="*/ 1980 w 2936"/>
                <a:gd name="T79" fmla="*/ 53 h 1983"/>
                <a:gd name="T80" fmla="*/ 2007 w 2936"/>
                <a:gd name="T81" fmla="*/ 155 h 1983"/>
                <a:gd name="T82" fmla="*/ 1952 w 2936"/>
                <a:gd name="T83" fmla="*/ 227 h 1983"/>
                <a:gd name="T84" fmla="*/ 2025 w 2936"/>
                <a:gd name="T85" fmla="*/ 350 h 1983"/>
                <a:gd name="T86" fmla="*/ 2146 w 2936"/>
                <a:gd name="T87" fmla="*/ 370 h 1983"/>
                <a:gd name="T88" fmla="*/ 2041 w 2936"/>
                <a:gd name="T89" fmla="*/ 455 h 1983"/>
                <a:gd name="T90" fmla="*/ 1891 w 2936"/>
                <a:gd name="T91" fmla="*/ 570 h 1983"/>
                <a:gd name="T92" fmla="*/ 1630 w 2936"/>
                <a:gd name="T93" fmla="*/ 713 h 1983"/>
                <a:gd name="T94" fmla="*/ 1228 w 2936"/>
                <a:gd name="T95" fmla="*/ 659 h 1983"/>
                <a:gd name="T96" fmla="*/ 1036 w 2936"/>
                <a:gd name="T97" fmla="*/ 560 h 1983"/>
                <a:gd name="T98" fmla="*/ 752 w 2936"/>
                <a:gd name="T99" fmla="*/ 495 h 1983"/>
                <a:gd name="T100" fmla="*/ 686 w 2936"/>
                <a:gd name="T101" fmla="*/ 379 h 1983"/>
                <a:gd name="T102" fmla="*/ 512 w 2936"/>
                <a:gd name="T103" fmla="*/ 299 h 1983"/>
                <a:gd name="T104" fmla="*/ 430 w 2936"/>
                <a:gd name="T105" fmla="*/ 311 h 1983"/>
                <a:gd name="T106" fmla="*/ 423 w 2936"/>
                <a:gd name="T107" fmla="*/ 388 h 1983"/>
                <a:gd name="T108" fmla="*/ 305 w 2936"/>
                <a:gd name="T109" fmla="*/ 382 h 1983"/>
                <a:gd name="T110" fmla="*/ 227 w 2936"/>
                <a:gd name="T111" fmla="*/ 507 h 1983"/>
                <a:gd name="T112" fmla="*/ 260 w 2936"/>
                <a:gd name="T113" fmla="*/ 595 h 1983"/>
                <a:gd name="T114" fmla="*/ 252 w 2936"/>
                <a:gd name="T115" fmla="*/ 716 h 1983"/>
                <a:gd name="T116" fmla="*/ 118 w 2936"/>
                <a:gd name="T117" fmla="*/ 781 h 1983"/>
                <a:gd name="T118" fmla="*/ 40 w 2936"/>
                <a:gd name="T119" fmla="*/ 894 h 1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0" name="Freeform 15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4411663" y="1508125"/>
              <a:ext cx="220662" cy="273050"/>
            </a:xfrm>
            <a:custGeom>
              <a:avLst/>
              <a:gdLst>
                <a:gd name="T0" fmla="*/ 345 w 504"/>
                <a:gd name="T1" fmla="*/ 493 h 524"/>
                <a:gd name="T2" fmla="*/ 256 w 504"/>
                <a:gd name="T3" fmla="*/ 505 h 524"/>
                <a:gd name="T4" fmla="*/ 235 w 504"/>
                <a:gd name="T5" fmla="*/ 517 h 524"/>
                <a:gd name="T6" fmla="*/ 210 w 504"/>
                <a:gd name="T7" fmla="*/ 522 h 524"/>
                <a:gd name="T8" fmla="*/ 155 w 504"/>
                <a:gd name="T9" fmla="*/ 524 h 524"/>
                <a:gd name="T10" fmla="*/ 106 w 504"/>
                <a:gd name="T11" fmla="*/ 522 h 524"/>
                <a:gd name="T12" fmla="*/ 94 w 504"/>
                <a:gd name="T13" fmla="*/ 516 h 524"/>
                <a:gd name="T14" fmla="*/ 71 w 504"/>
                <a:gd name="T15" fmla="*/ 509 h 524"/>
                <a:gd name="T16" fmla="*/ 36 w 504"/>
                <a:gd name="T17" fmla="*/ 496 h 524"/>
                <a:gd name="T18" fmla="*/ 22 w 504"/>
                <a:gd name="T19" fmla="*/ 486 h 524"/>
                <a:gd name="T20" fmla="*/ 20 w 504"/>
                <a:gd name="T21" fmla="*/ 477 h 524"/>
                <a:gd name="T22" fmla="*/ 27 w 504"/>
                <a:gd name="T23" fmla="*/ 463 h 524"/>
                <a:gd name="T24" fmla="*/ 32 w 504"/>
                <a:gd name="T25" fmla="*/ 445 h 524"/>
                <a:gd name="T26" fmla="*/ 28 w 504"/>
                <a:gd name="T27" fmla="*/ 432 h 524"/>
                <a:gd name="T28" fmla="*/ 10 w 504"/>
                <a:gd name="T29" fmla="*/ 417 h 524"/>
                <a:gd name="T30" fmla="*/ 1 w 504"/>
                <a:gd name="T31" fmla="*/ 407 h 524"/>
                <a:gd name="T32" fmla="*/ 1 w 504"/>
                <a:gd name="T33" fmla="*/ 391 h 524"/>
                <a:gd name="T34" fmla="*/ 17 w 504"/>
                <a:gd name="T35" fmla="*/ 360 h 524"/>
                <a:gd name="T36" fmla="*/ 48 w 504"/>
                <a:gd name="T37" fmla="*/ 328 h 524"/>
                <a:gd name="T38" fmla="*/ 86 w 504"/>
                <a:gd name="T39" fmla="*/ 299 h 524"/>
                <a:gd name="T40" fmla="*/ 124 w 504"/>
                <a:gd name="T41" fmla="*/ 279 h 524"/>
                <a:gd name="T42" fmla="*/ 160 w 504"/>
                <a:gd name="T43" fmla="*/ 272 h 524"/>
                <a:gd name="T44" fmla="*/ 155 w 504"/>
                <a:gd name="T45" fmla="*/ 264 h 524"/>
                <a:gd name="T46" fmla="*/ 142 w 504"/>
                <a:gd name="T47" fmla="*/ 259 h 524"/>
                <a:gd name="T48" fmla="*/ 133 w 504"/>
                <a:gd name="T49" fmla="*/ 251 h 524"/>
                <a:gd name="T50" fmla="*/ 127 w 504"/>
                <a:gd name="T51" fmla="*/ 229 h 524"/>
                <a:gd name="T52" fmla="*/ 124 w 504"/>
                <a:gd name="T53" fmla="*/ 195 h 524"/>
                <a:gd name="T54" fmla="*/ 115 w 504"/>
                <a:gd name="T55" fmla="*/ 161 h 524"/>
                <a:gd name="T56" fmla="*/ 100 w 504"/>
                <a:gd name="T57" fmla="*/ 134 h 524"/>
                <a:gd name="T58" fmla="*/ 68 w 504"/>
                <a:gd name="T59" fmla="*/ 90 h 524"/>
                <a:gd name="T60" fmla="*/ 86 w 504"/>
                <a:gd name="T61" fmla="*/ 60 h 524"/>
                <a:gd name="T62" fmla="*/ 106 w 504"/>
                <a:gd name="T63" fmla="*/ 56 h 524"/>
                <a:gd name="T64" fmla="*/ 130 w 504"/>
                <a:gd name="T65" fmla="*/ 58 h 524"/>
                <a:gd name="T66" fmla="*/ 139 w 504"/>
                <a:gd name="T67" fmla="*/ 61 h 524"/>
                <a:gd name="T68" fmla="*/ 160 w 504"/>
                <a:gd name="T69" fmla="*/ 56 h 524"/>
                <a:gd name="T70" fmla="*/ 164 w 504"/>
                <a:gd name="T71" fmla="*/ 33 h 524"/>
                <a:gd name="T72" fmla="*/ 171 w 504"/>
                <a:gd name="T73" fmla="*/ 13 h 524"/>
                <a:gd name="T74" fmla="*/ 187 w 504"/>
                <a:gd name="T75" fmla="*/ 0 h 524"/>
                <a:gd name="T76" fmla="*/ 225 w 504"/>
                <a:gd name="T77" fmla="*/ 0 h 524"/>
                <a:gd name="T78" fmla="*/ 254 w 504"/>
                <a:gd name="T79" fmla="*/ 8 h 524"/>
                <a:gd name="T80" fmla="*/ 280 w 504"/>
                <a:gd name="T81" fmla="*/ 21 h 524"/>
                <a:gd name="T82" fmla="*/ 279 w 504"/>
                <a:gd name="T83" fmla="*/ 62 h 524"/>
                <a:gd name="T84" fmla="*/ 292 w 504"/>
                <a:gd name="T85" fmla="*/ 77 h 524"/>
                <a:gd name="T86" fmla="*/ 319 w 504"/>
                <a:gd name="T87" fmla="*/ 94 h 524"/>
                <a:gd name="T88" fmla="*/ 356 w 504"/>
                <a:gd name="T89" fmla="*/ 119 h 524"/>
                <a:gd name="T90" fmla="*/ 346 w 504"/>
                <a:gd name="T91" fmla="*/ 135 h 524"/>
                <a:gd name="T92" fmla="*/ 340 w 504"/>
                <a:gd name="T93" fmla="*/ 153 h 524"/>
                <a:gd name="T94" fmla="*/ 344 w 504"/>
                <a:gd name="T95" fmla="*/ 176 h 524"/>
                <a:gd name="T96" fmla="*/ 363 w 504"/>
                <a:gd name="T97" fmla="*/ 200 h 524"/>
                <a:gd name="T98" fmla="*/ 378 w 504"/>
                <a:gd name="T99" fmla="*/ 210 h 524"/>
                <a:gd name="T100" fmla="*/ 386 w 504"/>
                <a:gd name="T101" fmla="*/ 256 h 524"/>
                <a:gd name="T102" fmla="*/ 404 w 504"/>
                <a:gd name="T103" fmla="*/ 289 h 524"/>
                <a:gd name="T104" fmla="*/ 432 w 504"/>
                <a:gd name="T105" fmla="*/ 315 h 524"/>
                <a:gd name="T106" fmla="*/ 463 w 504"/>
                <a:gd name="T107" fmla="*/ 335 h 524"/>
                <a:gd name="T108" fmla="*/ 466 w 504"/>
                <a:gd name="T109" fmla="*/ 390 h 524"/>
                <a:gd name="T110" fmla="*/ 397 w 504"/>
                <a:gd name="T111" fmla="*/ 457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" name="Freeform 17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4173538" y="2182813"/>
              <a:ext cx="250825" cy="274637"/>
            </a:xfrm>
            <a:custGeom>
              <a:avLst/>
              <a:gdLst>
                <a:gd name="T0" fmla="*/ 327 w 578"/>
                <a:gd name="T1" fmla="*/ 88 h 524"/>
                <a:gd name="T2" fmla="*/ 312 w 578"/>
                <a:gd name="T3" fmla="*/ 85 h 524"/>
                <a:gd name="T4" fmla="*/ 301 w 578"/>
                <a:gd name="T5" fmla="*/ 79 h 524"/>
                <a:gd name="T6" fmla="*/ 275 w 578"/>
                <a:gd name="T7" fmla="*/ 66 h 524"/>
                <a:gd name="T8" fmla="*/ 251 w 578"/>
                <a:gd name="T9" fmla="*/ 78 h 524"/>
                <a:gd name="T10" fmla="*/ 246 w 578"/>
                <a:gd name="T11" fmla="*/ 105 h 524"/>
                <a:gd name="T12" fmla="*/ 253 w 578"/>
                <a:gd name="T13" fmla="*/ 153 h 524"/>
                <a:gd name="T14" fmla="*/ 270 w 578"/>
                <a:gd name="T15" fmla="*/ 172 h 524"/>
                <a:gd name="T16" fmla="*/ 287 w 578"/>
                <a:gd name="T17" fmla="*/ 178 h 524"/>
                <a:gd name="T18" fmla="*/ 298 w 578"/>
                <a:gd name="T19" fmla="*/ 191 h 524"/>
                <a:gd name="T20" fmla="*/ 351 w 578"/>
                <a:gd name="T21" fmla="*/ 225 h 524"/>
                <a:gd name="T22" fmla="*/ 449 w 578"/>
                <a:gd name="T23" fmla="*/ 309 h 524"/>
                <a:gd name="T24" fmla="*/ 477 w 578"/>
                <a:gd name="T25" fmla="*/ 322 h 524"/>
                <a:gd name="T26" fmla="*/ 504 w 578"/>
                <a:gd name="T27" fmla="*/ 328 h 524"/>
                <a:gd name="T28" fmla="*/ 536 w 578"/>
                <a:gd name="T29" fmla="*/ 356 h 524"/>
                <a:gd name="T30" fmla="*/ 578 w 578"/>
                <a:gd name="T31" fmla="*/ 376 h 524"/>
                <a:gd name="T32" fmla="*/ 565 w 578"/>
                <a:gd name="T33" fmla="*/ 407 h 524"/>
                <a:gd name="T34" fmla="*/ 526 w 578"/>
                <a:gd name="T35" fmla="*/ 383 h 524"/>
                <a:gd name="T36" fmla="*/ 508 w 578"/>
                <a:gd name="T37" fmla="*/ 376 h 524"/>
                <a:gd name="T38" fmla="*/ 498 w 578"/>
                <a:gd name="T39" fmla="*/ 397 h 524"/>
                <a:gd name="T40" fmla="*/ 506 w 578"/>
                <a:gd name="T41" fmla="*/ 426 h 524"/>
                <a:gd name="T42" fmla="*/ 514 w 578"/>
                <a:gd name="T43" fmla="*/ 442 h 524"/>
                <a:gd name="T44" fmla="*/ 500 w 578"/>
                <a:gd name="T45" fmla="*/ 468 h 524"/>
                <a:gd name="T46" fmla="*/ 483 w 578"/>
                <a:gd name="T47" fmla="*/ 505 h 524"/>
                <a:gd name="T48" fmla="*/ 465 w 578"/>
                <a:gd name="T49" fmla="*/ 522 h 524"/>
                <a:gd name="T50" fmla="*/ 436 w 578"/>
                <a:gd name="T51" fmla="*/ 505 h 524"/>
                <a:gd name="T52" fmla="*/ 456 w 578"/>
                <a:gd name="T53" fmla="*/ 484 h 524"/>
                <a:gd name="T54" fmla="*/ 465 w 578"/>
                <a:gd name="T55" fmla="*/ 467 h 524"/>
                <a:gd name="T56" fmla="*/ 461 w 578"/>
                <a:gd name="T57" fmla="*/ 441 h 524"/>
                <a:gd name="T58" fmla="*/ 427 w 578"/>
                <a:gd name="T59" fmla="*/ 395 h 524"/>
                <a:gd name="T60" fmla="*/ 385 w 578"/>
                <a:gd name="T61" fmla="*/ 369 h 524"/>
                <a:gd name="T62" fmla="*/ 355 w 578"/>
                <a:gd name="T63" fmla="*/ 356 h 524"/>
                <a:gd name="T64" fmla="*/ 318 w 578"/>
                <a:gd name="T65" fmla="*/ 330 h 524"/>
                <a:gd name="T66" fmla="*/ 268 w 578"/>
                <a:gd name="T67" fmla="*/ 315 h 524"/>
                <a:gd name="T68" fmla="*/ 218 w 578"/>
                <a:gd name="T69" fmla="*/ 285 h 524"/>
                <a:gd name="T70" fmla="*/ 162 w 578"/>
                <a:gd name="T71" fmla="*/ 229 h 524"/>
                <a:gd name="T72" fmla="*/ 126 w 578"/>
                <a:gd name="T73" fmla="*/ 168 h 524"/>
                <a:gd name="T74" fmla="*/ 77 w 578"/>
                <a:gd name="T75" fmla="*/ 154 h 524"/>
                <a:gd name="T76" fmla="*/ 51 w 578"/>
                <a:gd name="T77" fmla="*/ 157 h 524"/>
                <a:gd name="T78" fmla="*/ 15 w 578"/>
                <a:gd name="T79" fmla="*/ 165 h 524"/>
                <a:gd name="T80" fmla="*/ 3 w 578"/>
                <a:gd name="T81" fmla="*/ 133 h 524"/>
                <a:gd name="T82" fmla="*/ 1 w 578"/>
                <a:gd name="T83" fmla="*/ 93 h 524"/>
                <a:gd name="T84" fmla="*/ 6 w 578"/>
                <a:gd name="T85" fmla="*/ 49 h 524"/>
                <a:gd name="T86" fmla="*/ 45 w 578"/>
                <a:gd name="T87" fmla="*/ 41 h 524"/>
                <a:gd name="T88" fmla="*/ 68 w 578"/>
                <a:gd name="T89" fmla="*/ 33 h 524"/>
                <a:gd name="T90" fmla="*/ 83 w 578"/>
                <a:gd name="T91" fmla="*/ 48 h 524"/>
                <a:gd name="T92" fmla="*/ 104 w 578"/>
                <a:gd name="T93" fmla="*/ 44 h 524"/>
                <a:gd name="T94" fmla="*/ 149 w 578"/>
                <a:gd name="T95" fmla="*/ 16 h 524"/>
                <a:gd name="T96" fmla="*/ 239 w 578"/>
                <a:gd name="T97" fmla="*/ 0 h 524"/>
                <a:gd name="T98" fmla="*/ 257 w 578"/>
                <a:gd name="T99" fmla="*/ 13 h 524"/>
                <a:gd name="T100" fmla="*/ 332 w 578"/>
                <a:gd name="T101" fmla="*/ 19 h 524"/>
                <a:gd name="T102" fmla="*/ 322 w 578"/>
                <a:gd name="T103" fmla="*/ 65 h 524"/>
                <a:gd name="T104" fmla="*/ 325 w 578"/>
                <a:gd name="T105" fmla="*/ 9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2" name="Freeform 18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4191000" y="2351088"/>
              <a:ext cx="33338" cy="82550"/>
            </a:xfrm>
            <a:custGeom>
              <a:avLst/>
              <a:gdLst>
                <a:gd name="T0" fmla="*/ 0 w 79"/>
                <a:gd name="T1" fmla="*/ 37 h 160"/>
                <a:gd name="T2" fmla="*/ 6 w 79"/>
                <a:gd name="T3" fmla="*/ 37 h 160"/>
                <a:gd name="T4" fmla="*/ 11 w 79"/>
                <a:gd name="T5" fmla="*/ 36 h 160"/>
                <a:gd name="T6" fmla="*/ 16 w 79"/>
                <a:gd name="T7" fmla="*/ 35 h 160"/>
                <a:gd name="T8" fmla="*/ 19 w 79"/>
                <a:gd name="T9" fmla="*/ 33 h 160"/>
                <a:gd name="T10" fmla="*/ 26 w 79"/>
                <a:gd name="T11" fmla="*/ 28 h 160"/>
                <a:gd name="T12" fmla="*/ 31 w 79"/>
                <a:gd name="T13" fmla="*/ 22 h 160"/>
                <a:gd name="T14" fmla="*/ 37 w 79"/>
                <a:gd name="T15" fmla="*/ 16 h 160"/>
                <a:gd name="T16" fmla="*/ 41 w 79"/>
                <a:gd name="T17" fmla="*/ 10 h 160"/>
                <a:gd name="T18" fmla="*/ 46 w 79"/>
                <a:gd name="T19" fmla="*/ 5 h 160"/>
                <a:gd name="T20" fmla="*/ 53 w 79"/>
                <a:gd name="T21" fmla="*/ 0 h 160"/>
                <a:gd name="T22" fmla="*/ 57 w 79"/>
                <a:gd name="T23" fmla="*/ 3 h 160"/>
                <a:gd name="T24" fmla="*/ 62 w 79"/>
                <a:gd name="T25" fmla="*/ 7 h 160"/>
                <a:gd name="T26" fmla="*/ 64 w 79"/>
                <a:gd name="T27" fmla="*/ 10 h 160"/>
                <a:gd name="T28" fmla="*/ 66 w 79"/>
                <a:gd name="T29" fmla="*/ 14 h 160"/>
                <a:gd name="T30" fmla="*/ 69 w 79"/>
                <a:gd name="T31" fmla="*/ 22 h 160"/>
                <a:gd name="T32" fmla="*/ 72 w 79"/>
                <a:gd name="T33" fmla="*/ 32 h 160"/>
                <a:gd name="T34" fmla="*/ 73 w 79"/>
                <a:gd name="T35" fmla="*/ 40 h 160"/>
                <a:gd name="T36" fmla="*/ 74 w 79"/>
                <a:gd name="T37" fmla="*/ 49 h 160"/>
                <a:gd name="T38" fmla="*/ 76 w 79"/>
                <a:gd name="T39" fmla="*/ 58 h 160"/>
                <a:gd name="T40" fmla="*/ 79 w 79"/>
                <a:gd name="T41" fmla="*/ 67 h 160"/>
                <a:gd name="T42" fmla="*/ 79 w 79"/>
                <a:gd name="T43" fmla="*/ 98 h 160"/>
                <a:gd name="T44" fmla="*/ 68 w 79"/>
                <a:gd name="T45" fmla="*/ 115 h 160"/>
                <a:gd name="T46" fmla="*/ 59 w 79"/>
                <a:gd name="T47" fmla="*/ 129 h 160"/>
                <a:gd name="T48" fmla="*/ 53 w 79"/>
                <a:gd name="T49" fmla="*/ 136 h 160"/>
                <a:gd name="T50" fmla="*/ 50 w 79"/>
                <a:gd name="T51" fmla="*/ 144 h 160"/>
                <a:gd name="T52" fmla="*/ 48 w 79"/>
                <a:gd name="T53" fmla="*/ 151 h 160"/>
                <a:gd name="T54" fmla="*/ 46 w 79"/>
                <a:gd name="T55" fmla="*/ 160 h 160"/>
                <a:gd name="T56" fmla="*/ 40 w 79"/>
                <a:gd name="T57" fmla="*/ 155 h 160"/>
                <a:gd name="T58" fmla="*/ 33 w 79"/>
                <a:gd name="T59" fmla="*/ 150 h 160"/>
                <a:gd name="T60" fmla="*/ 28 w 79"/>
                <a:gd name="T61" fmla="*/ 144 h 160"/>
                <a:gd name="T62" fmla="*/ 22 w 79"/>
                <a:gd name="T63" fmla="*/ 137 h 160"/>
                <a:gd name="T64" fmla="*/ 18 w 79"/>
                <a:gd name="T65" fmla="*/ 130 h 160"/>
                <a:gd name="T66" fmla="*/ 15 w 79"/>
                <a:gd name="T67" fmla="*/ 123 h 160"/>
                <a:gd name="T68" fmla="*/ 11 w 79"/>
                <a:gd name="T69" fmla="*/ 115 h 160"/>
                <a:gd name="T70" fmla="*/ 8 w 79"/>
                <a:gd name="T71" fmla="*/ 108 h 160"/>
                <a:gd name="T72" fmla="*/ 4 w 79"/>
                <a:gd name="T73" fmla="*/ 91 h 160"/>
                <a:gd name="T74" fmla="*/ 1 w 79"/>
                <a:gd name="T75" fmla="*/ 73 h 160"/>
                <a:gd name="T76" fmla="*/ 0 w 79"/>
                <a:gd name="T77" fmla="*/ 55 h 160"/>
                <a:gd name="T78" fmla="*/ 0 w 79"/>
                <a:gd name="T79" fmla="*/ 37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" name="Freeform 22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4532313" y="1287463"/>
              <a:ext cx="3065462" cy="1074737"/>
            </a:xfrm>
            <a:custGeom>
              <a:avLst/>
              <a:gdLst>
                <a:gd name="T0" fmla="*/ 725 w 7049"/>
                <a:gd name="T1" fmla="*/ 1733 h 2048"/>
                <a:gd name="T2" fmla="*/ 1070 w 7049"/>
                <a:gd name="T3" fmla="*/ 1937 h 2048"/>
                <a:gd name="T4" fmla="*/ 1212 w 7049"/>
                <a:gd name="T5" fmla="*/ 1814 h 2048"/>
                <a:gd name="T6" fmla="*/ 1674 w 7049"/>
                <a:gd name="T7" fmla="*/ 1469 h 2048"/>
                <a:gd name="T8" fmla="*/ 2618 w 7049"/>
                <a:gd name="T9" fmla="*/ 1315 h 2048"/>
                <a:gd name="T10" fmla="*/ 3350 w 7049"/>
                <a:gd name="T11" fmla="*/ 1494 h 2048"/>
                <a:gd name="T12" fmla="*/ 3676 w 7049"/>
                <a:gd name="T13" fmla="*/ 1438 h 2048"/>
                <a:gd name="T14" fmla="*/ 4136 w 7049"/>
                <a:gd name="T15" fmla="*/ 1492 h 2048"/>
                <a:gd name="T16" fmla="*/ 4577 w 7049"/>
                <a:gd name="T17" fmla="*/ 1509 h 2048"/>
                <a:gd name="T18" fmla="*/ 4759 w 7049"/>
                <a:gd name="T19" fmla="*/ 1372 h 2048"/>
                <a:gd name="T20" fmla="*/ 5156 w 7049"/>
                <a:gd name="T21" fmla="*/ 1476 h 2048"/>
                <a:gd name="T22" fmla="*/ 5614 w 7049"/>
                <a:gd name="T23" fmla="*/ 1598 h 2048"/>
                <a:gd name="T24" fmla="*/ 5604 w 7049"/>
                <a:gd name="T25" fmla="*/ 1844 h 2048"/>
                <a:gd name="T26" fmla="*/ 5853 w 7049"/>
                <a:gd name="T27" fmla="*/ 1612 h 2048"/>
                <a:gd name="T28" fmla="*/ 5570 w 7049"/>
                <a:gd name="T29" fmla="*/ 1256 h 2048"/>
                <a:gd name="T30" fmla="*/ 5331 w 7049"/>
                <a:gd name="T31" fmla="*/ 1147 h 2048"/>
                <a:gd name="T32" fmla="*/ 5857 w 7049"/>
                <a:gd name="T33" fmla="*/ 982 h 2048"/>
                <a:gd name="T34" fmla="*/ 5974 w 7049"/>
                <a:gd name="T35" fmla="*/ 822 h 2048"/>
                <a:gd name="T36" fmla="*/ 6132 w 7049"/>
                <a:gd name="T37" fmla="*/ 761 h 2048"/>
                <a:gd name="T38" fmla="*/ 6195 w 7049"/>
                <a:gd name="T39" fmla="*/ 974 h 2048"/>
                <a:gd name="T40" fmla="*/ 6352 w 7049"/>
                <a:gd name="T41" fmla="*/ 1251 h 2048"/>
                <a:gd name="T42" fmla="*/ 6575 w 7049"/>
                <a:gd name="T43" fmla="*/ 1410 h 2048"/>
                <a:gd name="T44" fmla="*/ 6566 w 7049"/>
                <a:gd name="T45" fmla="*/ 1214 h 2048"/>
                <a:gd name="T46" fmla="*/ 6373 w 7049"/>
                <a:gd name="T47" fmla="*/ 1037 h 2048"/>
                <a:gd name="T48" fmla="*/ 6547 w 7049"/>
                <a:gd name="T49" fmla="*/ 885 h 2048"/>
                <a:gd name="T50" fmla="*/ 6801 w 7049"/>
                <a:gd name="T51" fmla="*/ 784 h 2048"/>
                <a:gd name="T52" fmla="*/ 6628 w 7049"/>
                <a:gd name="T53" fmla="*/ 618 h 2048"/>
                <a:gd name="T54" fmla="*/ 6799 w 7049"/>
                <a:gd name="T55" fmla="*/ 636 h 2048"/>
                <a:gd name="T56" fmla="*/ 6861 w 7049"/>
                <a:gd name="T57" fmla="*/ 543 h 2048"/>
                <a:gd name="T58" fmla="*/ 6500 w 7049"/>
                <a:gd name="T59" fmla="*/ 462 h 2048"/>
                <a:gd name="T60" fmla="*/ 5843 w 7049"/>
                <a:gd name="T61" fmla="*/ 410 h 2048"/>
                <a:gd name="T62" fmla="*/ 5693 w 7049"/>
                <a:gd name="T63" fmla="*/ 415 h 2048"/>
                <a:gd name="T64" fmla="*/ 4991 w 7049"/>
                <a:gd name="T65" fmla="*/ 351 h 2048"/>
                <a:gd name="T66" fmla="*/ 4728 w 7049"/>
                <a:gd name="T67" fmla="*/ 290 h 2048"/>
                <a:gd name="T68" fmla="*/ 4412 w 7049"/>
                <a:gd name="T69" fmla="*/ 290 h 2048"/>
                <a:gd name="T70" fmla="*/ 4009 w 7049"/>
                <a:gd name="T71" fmla="*/ 318 h 2048"/>
                <a:gd name="T72" fmla="*/ 3574 w 7049"/>
                <a:gd name="T73" fmla="*/ 261 h 2048"/>
                <a:gd name="T74" fmla="*/ 3290 w 7049"/>
                <a:gd name="T75" fmla="*/ 244 h 2048"/>
                <a:gd name="T76" fmla="*/ 3008 w 7049"/>
                <a:gd name="T77" fmla="*/ 235 h 2048"/>
                <a:gd name="T78" fmla="*/ 2724 w 7049"/>
                <a:gd name="T79" fmla="*/ 58 h 2048"/>
                <a:gd name="T80" fmla="*/ 2617 w 7049"/>
                <a:gd name="T81" fmla="*/ 140 h 2048"/>
                <a:gd name="T82" fmla="*/ 2134 w 7049"/>
                <a:gd name="T83" fmla="*/ 167 h 2048"/>
                <a:gd name="T84" fmla="*/ 2159 w 7049"/>
                <a:gd name="T85" fmla="*/ 200 h 2048"/>
                <a:gd name="T86" fmla="*/ 2198 w 7049"/>
                <a:gd name="T87" fmla="*/ 342 h 2048"/>
                <a:gd name="T88" fmla="*/ 1933 w 7049"/>
                <a:gd name="T89" fmla="*/ 256 h 2048"/>
                <a:gd name="T90" fmla="*/ 1787 w 7049"/>
                <a:gd name="T91" fmla="*/ 273 h 2048"/>
                <a:gd name="T92" fmla="*/ 1917 w 7049"/>
                <a:gd name="T93" fmla="*/ 446 h 2048"/>
                <a:gd name="T94" fmla="*/ 2076 w 7049"/>
                <a:gd name="T95" fmla="*/ 529 h 2048"/>
                <a:gd name="T96" fmla="*/ 1883 w 7049"/>
                <a:gd name="T97" fmla="*/ 593 h 2048"/>
                <a:gd name="T98" fmla="*/ 1832 w 7049"/>
                <a:gd name="T99" fmla="*/ 464 h 2048"/>
                <a:gd name="T100" fmla="*/ 1621 w 7049"/>
                <a:gd name="T101" fmla="*/ 231 h 2048"/>
                <a:gd name="T102" fmla="*/ 1623 w 7049"/>
                <a:gd name="T103" fmla="*/ 451 h 2048"/>
                <a:gd name="T104" fmla="*/ 1238 w 7049"/>
                <a:gd name="T105" fmla="*/ 397 h 2048"/>
                <a:gd name="T106" fmla="*/ 1198 w 7049"/>
                <a:gd name="T107" fmla="*/ 477 h 2048"/>
                <a:gd name="T108" fmla="*/ 908 w 7049"/>
                <a:gd name="T109" fmla="*/ 500 h 2048"/>
                <a:gd name="T110" fmla="*/ 692 w 7049"/>
                <a:gd name="T111" fmla="*/ 483 h 2048"/>
                <a:gd name="T112" fmla="*/ 602 w 7049"/>
                <a:gd name="T113" fmla="*/ 585 h 2048"/>
                <a:gd name="T114" fmla="*/ 407 w 7049"/>
                <a:gd name="T115" fmla="*/ 739 h 2048"/>
                <a:gd name="T116" fmla="*/ 390 w 7049"/>
                <a:gd name="T117" fmla="*/ 612 h 2048"/>
                <a:gd name="T118" fmla="*/ 150 w 7049"/>
                <a:gd name="T119" fmla="*/ 440 h 2048"/>
                <a:gd name="T120" fmla="*/ 71 w 7049"/>
                <a:gd name="T121" fmla="*/ 605 h 2048"/>
                <a:gd name="T122" fmla="*/ 112 w 7049"/>
                <a:gd name="T123" fmla="*/ 958 h 2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algn="ctr"/>
              <a:endParaRPr lang="de-DE" sz="3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" name="Freeform 23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3795713" y="2274888"/>
              <a:ext cx="280987" cy="247650"/>
            </a:xfrm>
            <a:custGeom>
              <a:avLst/>
              <a:gdLst>
                <a:gd name="T0" fmla="*/ 406 w 647"/>
                <a:gd name="T1" fmla="*/ 27 h 470"/>
                <a:gd name="T2" fmla="*/ 428 w 647"/>
                <a:gd name="T3" fmla="*/ 45 h 470"/>
                <a:gd name="T4" fmla="*/ 458 w 647"/>
                <a:gd name="T5" fmla="*/ 60 h 470"/>
                <a:gd name="T6" fmla="*/ 512 w 647"/>
                <a:gd name="T7" fmla="*/ 78 h 470"/>
                <a:gd name="T8" fmla="*/ 538 w 647"/>
                <a:gd name="T9" fmla="*/ 81 h 470"/>
                <a:gd name="T10" fmla="*/ 562 w 647"/>
                <a:gd name="T11" fmla="*/ 99 h 470"/>
                <a:gd name="T12" fmla="*/ 567 w 647"/>
                <a:gd name="T13" fmla="*/ 97 h 470"/>
                <a:gd name="T14" fmla="*/ 575 w 647"/>
                <a:gd name="T15" fmla="*/ 85 h 470"/>
                <a:gd name="T16" fmla="*/ 583 w 647"/>
                <a:gd name="T17" fmla="*/ 78 h 470"/>
                <a:gd name="T18" fmla="*/ 603 w 647"/>
                <a:gd name="T19" fmla="*/ 80 h 470"/>
                <a:gd name="T20" fmla="*/ 624 w 647"/>
                <a:gd name="T21" fmla="*/ 79 h 470"/>
                <a:gd name="T22" fmla="*/ 640 w 647"/>
                <a:gd name="T23" fmla="*/ 84 h 470"/>
                <a:gd name="T24" fmla="*/ 646 w 647"/>
                <a:gd name="T25" fmla="*/ 103 h 470"/>
                <a:gd name="T26" fmla="*/ 646 w 647"/>
                <a:gd name="T27" fmla="*/ 123 h 470"/>
                <a:gd name="T28" fmla="*/ 618 w 647"/>
                <a:gd name="T29" fmla="*/ 131 h 470"/>
                <a:gd name="T30" fmla="*/ 586 w 647"/>
                <a:gd name="T31" fmla="*/ 146 h 470"/>
                <a:gd name="T32" fmla="*/ 560 w 647"/>
                <a:gd name="T33" fmla="*/ 165 h 470"/>
                <a:gd name="T34" fmla="*/ 504 w 647"/>
                <a:gd name="T35" fmla="*/ 214 h 470"/>
                <a:gd name="T36" fmla="*/ 489 w 647"/>
                <a:gd name="T37" fmla="*/ 227 h 470"/>
                <a:gd name="T38" fmla="*/ 474 w 647"/>
                <a:gd name="T39" fmla="*/ 254 h 470"/>
                <a:gd name="T40" fmla="*/ 473 w 647"/>
                <a:gd name="T41" fmla="*/ 282 h 470"/>
                <a:gd name="T42" fmla="*/ 473 w 647"/>
                <a:gd name="T43" fmla="*/ 311 h 470"/>
                <a:gd name="T44" fmla="*/ 463 w 647"/>
                <a:gd name="T45" fmla="*/ 340 h 470"/>
                <a:gd name="T46" fmla="*/ 450 w 647"/>
                <a:gd name="T47" fmla="*/ 354 h 470"/>
                <a:gd name="T48" fmla="*/ 411 w 647"/>
                <a:gd name="T49" fmla="*/ 384 h 470"/>
                <a:gd name="T50" fmla="*/ 383 w 647"/>
                <a:gd name="T51" fmla="*/ 411 h 470"/>
                <a:gd name="T52" fmla="*/ 374 w 647"/>
                <a:gd name="T53" fmla="*/ 425 h 470"/>
                <a:gd name="T54" fmla="*/ 369 w 647"/>
                <a:gd name="T55" fmla="*/ 432 h 470"/>
                <a:gd name="T56" fmla="*/ 310 w 647"/>
                <a:gd name="T57" fmla="*/ 429 h 470"/>
                <a:gd name="T58" fmla="*/ 257 w 647"/>
                <a:gd name="T59" fmla="*/ 434 h 470"/>
                <a:gd name="T60" fmla="*/ 224 w 647"/>
                <a:gd name="T61" fmla="*/ 446 h 470"/>
                <a:gd name="T62" fmla="*/ 193 w 647"/>
                <a:gd name="T63" fmla="*/ 467 h 470"/>
                <a:gd name="T64" fmla="*/ 179 w 647"/>
                <a:gd name="T65" fmla="*/ 469 h 470"/>
                <a:gd name="T66" fmla="*/ 169 w 647"/>
                <a:gd name="T67" fmla="*/ 461 h 470"/>
                <a:gd name="T68" fmla="*/ 153 w 647"/>
                <a:gd name="T69" fmla="*/ 432 h 470"/>
                <a:gd name="T70" fmla="*/ 140 w 647"/>
                <a:gd name="T71" fmla="*/ 414 h 470"/>
                <a:gd name="T72" fmla="*/ 122 w 647"/>
                <a:gd name="T73" fmla="*/ 400 h 470"/>
                <a:gd name="T74" fmla="*/ 114 w 647"/>
                <a:gd name="T75" fmla="*/ 379 h 470"/>
                <a:gd name="T76" fmla="*/ 126 w 647"/>
                <a:gd name="T77" fmla="*/ 336 h 470"/>
                <a:gd name="T78" fmla="*/ 127 w 647"/>
                <a:gd name="T79" fmla="*/ 267 h 470"/>
                <a:gd name="T80" fmla="*/ 147 w 647"/>
                <a:gd name="T81" fmla="*/ 206 h 470"/>
                <a:gd name="T82" fmla="*/ 168 w 647"/>
                <a:gd name="T83" fmla="*/ 149 h 470"/>
                <a:gd name="T84" fmla="*/ 172 w 647"/>
                <a:gd name="T85" fmla="*/ 131 h 470"/>
                <a:gd name="T86" fmla="*/ 116 w 647"/>
                <a:gd name="T87" fmla="*/ 123 h 470"/>
                <a:gd name="T88" fmla="*/ 62 w 647"/>
                <a:gd name="T89" fmla="*/ 109 h 470"/>
                <a:gd name="T90" fmla="*/ 17 w 647"/>
                <a:gd name="T91" fmla="*/ 93 h 470"/>
                <a:gd name="T92" fmla="*/ 0 w 647"/>
                <a:gd name="T93" fmla="*/ 38 h 470"/>
                <a:gd name="T94" fmla="*/ 23 w 647"/>
                <a:gd name="T95" fmla="*/ 34 h 470"/>
                <a:gd name="T96" fmla="*/ 51 w 647"/>
                <a:gd name="T97" fmla="*/ 20 h 470"/>
                <a:gd name="T98" fmla="*/ 73 w 647"/>
                <a:gd name="T99" fmla="*/ 4 h 470"/>
                <a:gd name="T100" fmla="*/ 86 w 647"/>
                <a:gd name="T101" fmla="*/ 0 h 470"/>
                <a:gd name="T102" fmla="*/ 132 w 647"/>
                <a:gd name="T103" fmla="*/ 7 h 470"/>
                <a:gd name="T104" fmla="*/ 171 w 647"/>
                <a:gd name="T105" fmla="*/ 17 h 470"/>
                <a:gd name="T106" fmla="*/ 209 w 647"/>
                <a:gd name="T107" fmla="*/ 20 h 470"/>
                <a:gd name="T108" fmla="*/ 235 w 647"/>
                <a:gd name="T109" fmla="*/ 29 h 470"/>
                <a:gd name="T110" fmla="*/ 258 w 647"/>
                <a:gd name="T111" fmla="*/ 37 h 470"/>
                <a:gd name="T112" fmla="*/ 385 w 647"/>
                <a:gd name="T113" fmla="*/ 26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5" name="Freeform 24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6427788" y="3013075"/>
              <a:ext cx="207962" cy="455613"/>
            </a:xfrm>
            <a:custGeom>
              <a:avLst/>
              <a:gdLst>
                <a:gd name="T0" fmla="*/ 379 w 479"/>
                <a:gd name="T1" fmla="*/ 357 h 868"/>
                <a:gd name="T2" fmla="*/ 333 w 479"/>
                <a:gd name="T3" fmla="*/ 370 h 868"/>
                <a:gd name="T4" fmla="*/ 314 w 479"/>
                <a:gd name="T5" fmla="*/ 390 h 868"/>
                <a:gd name="T6" fmla="*/ 316 w 479"/>
                <a:gd name="T7" fmla="*/ 428 h 868"/>
                <a:gd name="T8" fmla="*/ 352 w 479"/>
                <a:gd name="T9" fmla="*/ 492 h 868"/>
                <a:gd name="T10" fmla="*/ 359 w 479"/>
                <a:gd name="T11" fmla="*/ 530 h 868"/>
                <a:gd name="T12" fmla="*/ 366 w 479"/>
                <a:gd name="T13" fmla="*/ 555 h 868"/>
                <a:gd name="T14" fmla="*/ 323 w 479"/>
                <a:gd name="T15" fmla="*/ 526 h 868"/>
                <a:gd name="T16" fmla="*/ 309 w 479"/>
                <a:gd name="T17" fmla="*/ 492 h 868"/>
                <a:gd name="T18" fmla="*/ 269 w 479"/>
                <a:gd name="T19" fmla="*/ 467 h 868"/>
                <a:gd name="T20" fmla="*/ 210 w 479"/>
                <a:gd name="T21" fmla="*/ 439 h 868"/>
                <a:gd name="T22" fmla="*/ 193 w 479"/>
                <a:gd name="T23" fmla="*/ 406 h 868"/>
                <a:gd name="T24" fmla="*/ 156 w 479"/>
                <a:gd name="T25" fmla="*/ 477 h 868"/>
                <a:gd name="T26" fmla="*/ 156 w 479"/>
                <a:gd name="T27" fmla="*/ 524 h 868"/>
                <a:gd name="T28" fmla="*/ 132 w 479"/>
                <a:gd name="T29" fmla="*/ 575 h 868"/>
                <a:gd name="T30" fmla="*/ 128 w 479"/>
                <a:gd name="T31" fmla="*/ 621 h 868"/>
                <a:gd name="T32" fmla="*/ 154 w 479"/>
                <a:gd name="T33" fmla="*/ 650 h 868"/>
                <a:gd name="T34" fmla="*/ 175 w 479"/>
                <a:gd name="T35" fmla="*/ 685 h 868"/>
                <a:gd name="T36" fmla="*/ 185 w 479"/>
                <a:gd name="T37" fmla="*/ 730 h 868"/>
                <a:gd name="T38" fmla="*/ 226 w 479"/>
                <a:gd name="T39" fmla="*/ 780 h 868"/>
                <a:gd name="T40" fmla="*/ 281 w 479"/>
                <a:gd name="T41" fmla="*/ 825 h 868"/>
                <a:gd name="T42" fmla="*/ 340 w 479"/>
                <a:gd name="T43" fmla="*/ 850 h 868"/>
                <a:gd name="T44" fmla="*/ 298 w 479"/>
                <a:gd name="T45" fmla="*/ 867 h 868"/>
                <a:gd name="T46" fmla="*/ 269 w 479"/>
                <a:gd name="T47" fmla="*/ 864 h 868"/>
                <a:gd name="T48" fmla="*/ 229 w 479"/>
                <a:gd name="T49" fmla="*/ 841 h 868"/>
                <a:gd name="T50" fmla="*/ 200 w 479"/>
                <a:gd name="T51" fmla="*/ 823 h 868"/>
                <a:gd name="T52" fmla="*/ 137 w 479"/>
                <a:gd name="T53" fmla="*/ 759 h 868"/>
                <a:gd name="T54" fmla="*/ 83 w 479"/>
                <a:gd name="T55" fmla="*/ 730 h 868"/>
                <a:gd name="T56" fmla="*/ 74 w 479"/>
                <a:gd name="T57" fmla="*/ 688 h 868"/>
                <a:gd name="T58" fmla="*/ 80 w 479"/>
                <a:gd name="T59" fmla="*/ 653 h 868"/>
                <a:gd name="T60" fmla="*/ 88 w 479"/>
                <a:gd name="T61" fmla="*/ 617 h 868"/>
                <a:gd name="T62" fmla="*/ 120 w 479"/>
                <a:gd name="T63" fmla="*/ 498 h 868"/>
                <a:gd name="T64" fmla="*/ 108 w 479"/>
                <a:gd name="T65" fmla="*/ 404 h 868"/>
                <a:gd name="T66" fmla="*/ 62 w 479"/>
                <a:gd name="T67" fmla="*/ 319 h 868"/>
                <a:gd name="T68" fmla="*/ 64 w 479"/>
                <a:gd name="T69" fmla="*/ 285 h 868"/>
                <a:gd name="T70" fmla="*/ 74 w 479"/>
                <a:gd name="T71" fmla="*/ 265 h 868"/>
                <a:gd name="T72" fmla="*/ 56 w 479"/>
                <a:gd name="T73" fmla="*/ 202 h 868"/>
                <a:gd name="T74" fmla="*/ 23 w 479"/>
                <a:gd name="T75" fmla="*/ 158 h 868"/>
                <a:gd name="T76" fmla="*/ 1 w 479"/>
                <a:gd name="T77" fmla="*/ 102 h 868"/>
                <a:gd name="T78" fmla="*/ 11 w 479"/>
                <a:gd name="T79" fmla="*/ 44 h 868"/>
                <a:gd name="T80" fmla="*/ 49 w 479"/>
                <a:gd name="T81" fmla="*/ 16 h 868"/>
                <a:gd name="T82" fmla="*/ 120 w 479"/>
                <a:gd name="T83" fmla="*/ 0 h 868"/>
                <a:gd name="T84" fmla="*/ 156 w 479"/>
                <a:gd name="T85" fmla="*/ 28 h 868"/>
                <a:gd name="T86" fmla="*/ 179 w 479"/>
                <a:gd name="T87" fmla="*/ 36 h 868"/>
                <a:gd name="T88" fmla="*/ 197 w 479"/>
                <a:gd name="T89" fmla="*/ 136 h 868"/>
                <a:gd name="T90" fmla="*/ 213 w 479"/>
                <a:gd name="T91" fmla="*/ 166 h 868"/>
                <a:gd name="T92" fmla="*/ 231 w 479"/>
                <a:gd name="T93" fmla="*/ 155 h 868"/>
                <a:gd name="T94" fmla="*/ 258 w 479"/>
                <a:gd name="T95" fmla="*/ 126 h 868"/>
                <a:gd name="T96" fmla="*/ 281 w 479"/>
                <a:gd name="T97" fmla="*/ 141 h 868"/>
                <a:gd name="T98" fmla="*/ 298 w 479"/>
                <a:gd name="T99" fmla="*/ 136 h 868"/>
                <a:gd name="T100" fmla="*/ 316 w 479"/>
                <a:gd name="T101" fmla="*/ 108 h 868"/>
                <a:gd name="T102" fmla="*/ 346 w 479"/>
                <a:gd name="T103" fmla="*/ 108 h 868"/>
                <a:gd name="T104" fmla="*/ 387 w 479"/>
                <a:gd name="T105" fmla="*/ 157 h 868"/>
                <a:gd name="T106" fmla="*/ 454 w 479"/>
                <a:gd name="T107" fmla="*/ 246 h 868"/>
                <a:gd name="T108" fmla="*/ 478 w 479"/>
                <a:gd name="T109" fmla="*/ 307 h 868"/>
                <a:gd name="T110" fmla="*/ 468 w 479"/>
                <a:gd name="T111" fmla="*/ 338 h 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6" name="Freeform 25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2536825" y="5400675"/>
              <a:ext cx="23813" cy="57150"/>
            </a:xfrm>
            <a:custGeom>
              <a:avLst/>
              <a:gdLst>
                <a:gd name="T0" fmla="*/ 0 w 53"/>
                <a:gd name="T1" fmla="*/ 8 h 19"/>
                <a:gd name="T2" fmla="*/ 7 w 53"/>
                <a:gd name="T3" fmla="*/ 13 h 19"/>
                <a:gd name="T4" fmla="*/ 14 w 53"/>
                <a:gd name="T5" fmla="*/ 17 h 19"/>
                <a:gd name="T6" fmla="*/ 22 w 53"/>
                <a:gd name="T7" fmla="*/ 19 h 19"/>
                <a:gd name="T8" fmla="*/ 29 w 53"/>
                <a:gd name="T9" fmla="*/ 19 h 19"/>
                <a:gd name="T10" fmla="*/ 35 w 53"/>
                <a:gd name="T11" fmla="*/ 18 h 19"/>
                <a:gd name="T12" fmla="*/ 42 w 53"/>
                <a:gd name="T13" fmla="*/ 15 h 19"/>
                <a:gd name="T14" fmla="*/ 47 w 53"/>
                <a:gd name="T15" fmla="*/ 12 h 19"/>
                <a:gd name="T16" fmla="*/ 53 w 53"/>
                <a:gd name="T17" fmla="*/ 8 h 19"/>
                <a:gd name="T18" fmla="*/ 47 w 53"/>
                <a:gd name="T19" fmla="*/ 5 h 19"/>
                <a:gd name="T20" fmla="*/ 42 w 53"/>
                <a:gd name="T21" fmla="*/ 2 h 19"/>
                <a:gd name="T22" fmla="*/ 35 w 53"/>
                <a:gd name="T23" fmla="*/ 1 h 19"/>
                <a:gd name="T24" fmla="*/ 29 w 53"/>
                <a:gd name="T25" fmla="*/ 0 h 19"/>
                <a:gd name="T26" fmla="*/ 22 w 53"/>
                <a:gd name="T27" fmla="*/ 0 h 19"/>
                <a:gd name="T28" fmla="*/ 14 w 53"/>
                <a:gd name="T29" fmla="*/ 1 h 19"/>
                <a:gd name="T30" fmla="*/ 7 w 53"/>
                <a:gd name="T31" fmla="*/ 3 h 19"/>
                <a:gd name="T32" fmla="*/ 0 w 53"/>
                <a:gd name="T3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7" name="Line 26" descr="Horizontal dunkel"/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>
              <a:off x="998538" y="2322513"/>
              <a:ext cx="3175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1001713" y="2319338"/>
              <a:ext cx="3175" cy="55562"/>
            </a:xfrm>
            <a:custGeom>
              <a:avLst/>
              <a:gdLst>
                <a:gd name="T0" fmla="*/ 0 w 6"/>
                <a:gd name="T1" fmla="*/ 24 h 24"/>
                <a:gd name="T2" fmla="*/ 0 w 6"/>
                <a:gd name="T3" fmla="*/ 19 h 24"/>
                <a:gd name="T4" fmla="*/ 1 w 6"/>
                <a:gd name="T5" fmla="*/ 14 h 24"/>
                <a:gd name="T6" fmla="*/ 3 w 6"/>
                <a:gd name="T7" fmla="*/ 8 h 24"/>
                <a:gd name="T8" fmla="*/ 6 w 6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977900" y="2373313"/>
              <a:ext cx="23813" cy="57150"/>
            </a:xfrm>
            <a:custGeom>
              <a:avLst/>
              <a:gdLst>
                <a:gd name="T0" fmla="*/ 0 w 47"/>
                <a:gd name="T1" fmla="*/ 24 h 67"/>
                <a:gd name="T2" fmla="*/ 0 w 47"/>
                <a:gd name="T3" fmla="*/ 30 h 67"/>
                <a:gd name="T4" fmla="*/ 2 w 47"/>
                <a:gd name="T5" fmla="*/ 36 h 67"/>
                <a:gd name="T6" fmla="*/ 3 w 47"/>
                <a:gd name="T7" fmla="*/ 42 h 67"/>
                <a:gd name="T8" fmla="*/ 5 w 47"/>
                <a:gd name="T9" fmla="*/ 47 h 67"/>
                <a:gd name="T10" fmla="*/ 9 w 47"/>
                <a:gd name="T11" fmla="*/ 58 h 67"/>
                <a:gd name="T12" fmla="*/ 14 w 47"/>
                <a:gd name="T13" fmla="*/ 67 h 67"/>
                <a:gd name="T14" fmla="*/ 47 w 47"/>
                <a:gd name="T15" fmla="*/ 67 h 67"/>
                <a:gd name="T16" fmla="*/ 47 w 47"/>
                <a:gd name="T17" fmla="*/ 0 h 67"/>
                <a:gd name="T18" fmla="*/ 36 w 47"/>
                <a:gd name="T19" fmla="*/ 2 h 67"/>
                <a:gd name="T20" fmla="*/ 26 w 47"/>
                <a:gd name="T21" fmla="*/ 4 h 67"/>
                <a:gd name="T22" fmla="*/ 18 w 47"/>
                <a:gd name="T23" fmla="*/ 7 h 67"/>
                <a:gd name="T24" fmla="*/ 11 w 47"/>
                <a:gd name="T25" fmla="*/ 9 h 67"/>
                <a:gd name="T26" fmla="*/ 6 w 47"/>
                <a:gd name="T27" fmla="*/ 12 h 67"/>
                <a:gd name="T28" fmla="*/ 3 w 47"/>
                <a:gd name="T29" fmla="*/ 16 h 67"/>
                <a:gd name="T30" fmla="*/ 0 w 47"/>
                <a:gd name="T31" fmla="*/ 20 h 67"/>
                <a:gd name="T32" fmla="*/ 0 w 47"/>
                <a:gd name="T33" fmla="*/ 24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2303463" y="2368550"/>
              <a:ext cx="49212" cy="57150"/>
            </a:xfrm>
            <a:custGeom>
              <a:avLst/>
              <a:gdLst>
                <a:gd name="T0" fmla="*/ 0 w 112"/>
                <a:gd name="T1" fmla="*/ 36 h 36"/>
                <a:gd name="T2" fmla="*/ 59 w 112"/>
                <a:gd name="T3" fmla="*/ 36 h 36"/>
                <a:gd name="T4" fmla="*/ 67 w 112"/>
                <a:gd name="T5" fmla="*/ 30 h 36"/>
                <a:gd name="T6" fmla="*/ 75 w 112"/>
                <a:gd name="T7" fmla="*/ 26 h 36"/>
                <a:gd name="T8" fmla="*/ 84 w 112"/>
                <a:gd name="T9" fmla="*/ 23 h 36"/>
                <a:gd name="T10" fmla="*/ 91 w 112"/>
                <a:gd name="T11" fmla="*/ 20 h 36"/>
                <a:gd name="T12" fmla="*/ 98 w 112"/>
                <a:gd name="T13" fmla="*/ 17 h 36"/>
                <a:gd name="T14" fmla="*/ 104 w 112"/>
                <a:gd name="T15" fmla="*/ 13 h 36"/>
                <a:gd name="T16" fmla="*/ 107 w 112"/>
                <a:gd name="T17" fmla="*/ 11 h 36"/>
                <a:gd name="T18" fmla="*/ 109 w 112"/>
                <a:gd name="T19" fmla="*/ 8 h 36"/>
                <a:gd name="T20" fmla="*/ 111 w 112"/>
                <a:gd name="T21" fmla="*/ 4 h 36"/>
                <a:gd name="T22" fmla="*/ 112 w 112"/>
                <a:gd name="T23" fmla="*/ 0 h 36"/>
                <a:gd name="T24" fmla="*/ 100 w 112"/>
                <a:gd name="T25" fmla="*/ 0 h 36"/>
                <a:gd name="T26" fmla="*/ 85 w 112"/>
                <a:gd name="T27" fmla="*/ 1 h 36"/>
                <a:gd name="T28" fmla="*/ 67 w 112"/>
                <a:gd name="T29" fmla="*/ 3 h 36"/>
                <a:gd name="T30" fmla="*/ 48 w 112"/>
                <a:gd name="T31" fmla="*/ 7 h 36"/>
                <a:gd name="T32" fmla="*/ 40 w 112"/>
                <a:gd name="T33" fmla="*/ 9 h 36"/>
                <a:gd name="T34" fmla="*/ 31 w 112"/>
                <a:gd name="T35" fmla="*/ 11 h 36"/>
                <a:gd name="T36" fmla="*/ 23 w 112"/>
                <a:gd name="T37" fmla="*/ 14 h 36"/>
                <a:gd name="T38" fmla="*/ 17 w 112"/>
                <a:gd name="T39" fmla="*/ 18 h 36"/>
                <a:gd name="T40" fmla="*/ 10 w 112"/>
                <a:gd name="T41" fmla="*/ 22 h 36"/>
                <a:gd name="T42" fmla="*/ 6 w 112"/>
                <a:gd name="T43" fmla="*/ 26 h 36"/>
                <a:gd name="T44" fmla="*/ 1 w 112"/>
                <a:gd name="T45" fmla="*/ 31 h 36"/>
                <a:gd name="T46" fmla="*/ 0 w 112"/>
                <a:gd name="T4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5041900" y="1925638"/>
              <a:ext cx="874713" cy="452437"/>
            </a:xfrm>
            <a:custGeom>
              <a:avLst/>
              <a:gdLst>
                <a:gd name="T0" fmla="*/ 433 w 2006"/>
                <a:gd name="T1" fmla="*/ 765 h 863"/>
                <a:gd name="T2" fmla="*/ 412 w 2006"/>
                <a:gd name="T3" fmla="*/ 764 h 863"/>
                <a:gd name="T4" fmla="*/ 390 w 2006"/>
                <a:gd name="T5" fmla="*/ 794 h 863"/>
                <a:gd name="T6" fmla="*/ 375 w 2006"/>
                <a:gd name="T7" fmla="*/ 792 h 863"/>
                <a:gd name="T8" fmla="*/ 370 w 2006"/>
                <a:gd name="T9" fmla="*/ 751 h 863"/>
                <a:gd name="T10" fmla="*/ 324 w 2006"/>
                <a:gd name="T11" fmla="*/ 724 h 863"/>
                <a:gd name="T12" fmla="*/ 312 w 2006"/>
                <a:gd name="T13" fmla="*/ 708 h 863"/>
                <a:gd name="T14" fmla="*/ 288 w 2006"/>
                <a:gd name="T15" fmla="*/ 692 h 863"/>
                <a:gd name="T16" fmla="*/ 251 w 2006"/>
                <a:gd name="T17" fmla="*/ 641 h 863"/>
                <a:gd name="T18" fmla="*/ 232 w 2006"/>
                <a:gd name="T19" fmla="*/ 610 h 863"/>
                <a:gd name="T20" fmla="*/ 253 w 2006"/>
                <a:gd name="T21" fmla="*/ 594 h 863"/>
                <a:gd name="T22" fmla="*/ 279 w 2006"/>
                <a:gd name="T23" fmla="*/ 573 h 863"/>
                <a:gd name="T24" fmla="*/ 338 w 2006"/>
                <a:gd name="T25" fmla="*/ 544 h 863"/>
                <a:gd name="T26" fmla="*/ 319 w 2006"/>
                <a:gd name="T27" fmla="*/ 487 h 863"/>
                <a:gd name="T28" fmla="*/ 258 w 2006"/>
                <a:gd name="T29" fmla="*/ 475 h 863"/>
                <a:gd name="T30" fmla="*/ 209 w 2006"/>
                <a:gd name="T31" fmla="*/ 470 h 863"/>
                <a:gd name="T32" fmla="*/ 157 w 2006"/>
                <a:gd name="T33" fmla="*/ 495 h 863"/>
                <a:gd name="T34" fmla="*/ 106 w 2006"/>
                <a:gd name="T35" fmla="*/ 505 h 863"/>
                <a:gd name="T36" fmla="*/ 27 w 2006"/>
                <a:gd name="T37" fmla="*/ 413 h 863"/>
                <a:gd name="T38" fmla="*/ 20 w 2006"/>
                <a:gd name="T39" fmla="*/ 283 h 863"/>
                <a:gd name="T40" fmla="*/ 113 w 2006"/>
                <a:gd name="T41" fmla="*/ 259 h 863"/>
                <a:gd name="T42" fmla="*/ 292 w 2006"/>
                <a:gd name="T43" fmla="*/ 222 h 863"/>
                <a:gd name="T44" fmla="*/ 498 w 2006"/>
                <a:gd name="T45" fmla="*/ 253 h 863"/>
                <a:gd name="T46" fmla="*/ 717 w 2006"/>
                <a:gd name="T47" fmla="*/ 253 h 863"/>
                <a:gd name="T48" fmla="*/ 658 w 2006"/>
                <a:gd name="T49" fmla="*/ 185 h 863"/>
                <a:gd name="T50" fmla="*/ 830 w 2006"/>
                <a:gd name="T51" fmla="*/ 68 h 863"/>
                <a:gd name="T52" fmla="*/ 1050 w 2006"/>
                <a:gd name="T53" fmla="*/ 13 h 863"/>
                <a:gd name="T54" fmla="*/ 1176 w 2006"/>
                <a:gd name="T55" fmla="*/ 61 h 863"/>
                <a:gd name="T56" fmla="*/ 1296 w 2006"/>
                <a:gd name="T57" fmla="*/ 111 h 863"/>
                <a:gd name="T58" fmla="*/ 1442 w 2006"/>
                <a:gd name="T59" fmla="*/ 99 h 863"/>
                <a:gd name="T60" fmla="*/ 1647 w 2006"/>
                <a:gd name="T61" fmla="*/ 271 h 863"/>
                <a:gd name="T62" fmla="*/ 1793 w 2006"/>
                <a:gd name="T63" fmla="*/ 265 h 863"/>
                <a:gd name="T64" fmla="*/ 2000 w 2006"/>
                <a:gd name="T65" fmla="*/ 339 h 863"/>
                <a:gd name="T66" fmla="*/ 2002 w 2006"/>
                <a:gd name="T67" fmla="*/ 381 h 863"/>
                <a:gd name="T68" fmla="*/ 1981 w 2006"/>
                <a:gd name="T69" fmla="*/ 399 h 863"/>
                <a:gd name="T70" fmla="*/ 1960 w 2006"/>
                <a:gd name="T71" fmla="*/ 404 h 863"/>
                <a:gd name="T72" fmla="*/ 1963 w 2006"/>
                <a:gd name="T73" fmla="*/ 425 h 863"/>
                <a:gd name="T74" fmla="*/ 1985 w 2006"/>
                <a:gd name="T75" fmla="*/ 466 h 863"/>
                <a:gd name="T76" fmla="*/ 1979 w 2006"/>
                <a:gd name="T77" fmla="*/ 478 h 863"/>
                <a:gd name="T78" fmla="*/ 1939 w 2006"/>
                <a:gd name="T79" fmla="*/ 481 h 863"/>
                <a:gd name="T80" fmla="*/ 1893 w 2006"/>
                <a:gd name="T81" fmla="*/ 474 h 863"/>
                <a:gd name="T82" fmla="*/ 1864 w 2006"/>
                <a:gd name="T83" fmla="*/ 474 h 863"/>
                <a:gd name="T84" fmla="*/ 1878 w 2006"/>
                <a:gd name="T85" fmla="*/ 548 h 863"/>
                <a:gd name="T86" fmla="*/ 1880 w 2006"/>
                <a:gd name="T87" fmla="*/ 586 h 863"/>
                <a:gd name="T88" fmla="*/ 1789 w 2006"/>
                <a:gd name="T89" fmla="*/ 588 h 863"/>
                <a:gd name="T90" fmla="*/ 1768 w 2006"/>
                <a:gd name="T91" fmla="*/ 604 h 863"/>
                <a:gd name="T92" fmla="*/ 1795 w 2006"/>
                <a:gd name="T93" fmla="*/ 619 h 863"/>
                <a:gd name="T94" fmla="*/ 1814 w 2006"/>
                <a:gd name="T95" fmla="*/ 650 h 863"/>
                <a:gd name="T96" fmla="*/ 1834 w 2006"/>
                <a:gd name="T97" fmla="*/ 689 h 863"/>
                <a:gd name="T98" fmla="*/ 1837 w 2006"/>
                <a:gd name="T99" fmla="*/ 706 h 863"/>
                <a:gd name="T100" fmla="*/ 1837 w 2006"/>
                <a:gd name="T101" fmla="*/ 754 h 863"/>
                <a:gd name="T102" fmla="*/ 1741 w 2006"/>
                <a:gd name="T103" fmla="*/ 740 h 863"/>
                <a:gd name="T104" fmla="*/ 1475 w 2006"/>
                <a:gd name="T105" fmla="*/ 764 h 863"/>
                <a:gd name="T106" fmla="*/ 1316 w 2006"/>
                <a:gd name="T107" fmla="*/ 795 h 863"/>
                <a:gd name="T108" fmla="*/ 1142 w 2006"/>
                <a:gd name="T109" fmla="*/ 838 h 863"/>
                <a:gd name="T110" fmla="*/ 963 w 2006"/>
                <a:gd name="T111" fmla="*/ 697 h 863"/>
                <a:gd name="T112" fmla="*/ 684 w 2006"/>
                <a:gd name="T113" fmla="*/ 586 h 863"/>
                <a:gd name="T114" fmla="*/ 584 w 2006"/>
                <a:gd name="T115" fmla="*/ 832 h 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5272088" y="2228850"/>
              <a:ext cx="409575" cy="249238"/>
            </a:xfrm>
            <a:custGeom>
              <a:avLst/>
              <a:gdLst>
                <a:gd name="T0" fmla="*/ 638 w 950"/>
                <a:gd name="T1" fmla="*/ 443 h 468"/>
                <a:gd name="T2" fmla="*/ 558 w 950"/>
                <a:gd name="T3" fmla="*/ 418 h 468"/>
                <a:gd name="T4" fmla="*/ 471 w 950"/>
                <a:gd name="T5" fmla="*/ 376 h 468"/>
                <a:gd name="T6" fmla="*/ 392 w 950"/>
                <a:gd name="T7" fmla="*/ 307 h 468"/>
                <a:gd name="T8" fmla="*/ 305 w 950"/>
                <a:gd name="T9" fmla="*/ 258 h 468"/>
                <a:gd name="T10" fmla="*/ 253 w 950"/>
                <a:gd name="T11" fmla="*/ 209 h 468"/>
                <a:gd name="T12" fmla="*/ 186 w 950"/>
                <a:gd name="T13" fmla="*/ 172 h 468"/>
                <a:gd name="T14" fmla="*/ 133 w 950"/>
                <a:gd name="T15" fmla="*/ 190 h 468"/>
                <a:gd name="T16" fmla="*/ 99 w 950"/>
                <a:gd name="T17" fmla="*/ 240 h 468"/>
                <a:gd name="T18" fmla="*/ 40 w 950"/>
                <a:gd name="T19" fmla="*/ 246 h 468"/>
                <a:gd name="T20" fmla="*/ 0 w 950"/>
                <a:gd name="T21" fmla="*/ 24 h 468"/>
                <a:gd name="T22" fmla="*/ 79 w 950"/>
                <a:gd name="T23" fmla="*/ 6 h 468"/>
                <a:gd name="T24" fmla="*/ 133 w 950"/>
                <a:gd name="T25" fmla="*/ 55 h 468"/>
                <a:gd name="T26" fmla="*/ 157 w 950"/>
                <a:gd name="T27" fmla="*/ 15 h 468"/>
                <a:gd name="T28" fmla="*/ 332 w 950"/>
                <a:gd name="T29" fmla="*/ 117 h 468"/>
                <a:gd name="T30" fmla="*/ 438 w 950"/>
                <a:gd name="T31" fmla="*/ 117 h 468"/>
                <a:gd name="T32" fmla="*/ 525 w 950"/>
                <a:gd name="T33" fmla="*/ 135 h 468"/>
                <a:gd name="T34" fmla="*/ 597 w 950"/>
                <a:gd name="T35" fmla="*/ 228 h 468"/>
                <a:gd name="T36" fmla="*/ 671 w 950"/>
                <a:gd name="T37" fmla="*/ 252 h 468"/>
                <a:gd name="T38" fmla="*/ 730 w 950"/>
                <a:gd name="T39" fmla="*/ 258 h 468"/>
                <a:gd name="T40" fmla="*/ 791 w 950"/>
                <a:gd name="T41" fmla="*/ 215 h 468"/>
                <a:gd name="T42" fmla="*/ 843 w 950"/>
                <a:gd name="T43" fmla="*/ 196 h 468"/>
                <a:gd name="T44" fmla="*/ 824 w 950"/>
                <a:gd name="T45" fmla="*/ 252 h 468"/>
                <a:gd name="T46" fmla="*/ 870 w 950"/>
                <a:gd name="T47" fmla="*/ 240 h 468"/>
                <a:gd name="T48" fmla="*/ 950 w 950"/>
                <a:gd name="T49" fmla="*/ 283 h 468"/>
                <a:gd name="T50" fmla="*/ 883 w 950"/>
                <a:gd name="T51" fmla="*/ 320 h 468"/>
                <a:gd name="T52" fmla="*/ 824 w 950"/>
                <a:gd name="T53" fmla="*/ 283 h 468"/>
                <a:gd name="T54" fmla="*/ 764 w 950"/>
                <a:gd name="T55" fmla="*/ 277 h 468"/>
                <a:gd name="T56" fmla="*/ 737 w 950"/>
                <a:gd name="T57" fmla="*/ 320 h 468"/>
                <a:gd name="T58" fmla="*/ 684 w 950"/>
                <a:gd name="T59" fmla="*/ 357 h 468"/>
                <a:gd name="T60" fmla="*/ 710 w 950"/>
                <a:gd name="T61" fmla="*/ 388 h 468"/>
                <a:gd name="T62" fmla="*/ 743 w 950"/>
                <a:gd name="T63" fmla="*/ 437 h 468"/>
                <a:gd name="T64" fmla="*/ 717 w 950"/>
                <a:gd name="T65" fmla="*/ 468 h 468"/>
                <a:gd name="T66" fmla="*/ 703 w 950"/>
                <a:gd name="T67" fmla="*/ 465 h 468"/>
                <a:gd name="T68" fmla="*/ 684 w 950"/>
                <a:gd name="T69" fmla="*/ 461 h 468"/>
                <a:gd name="T70" fmla="*/ 658 w 950"/>
                <a:gd name="T71" fmla="*/ 46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3" name="Freeform 32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4079875" y="3232150"/>
              <a:ext cx="296863" cy="288925"/>
            </a:xfrm>
            <a:custGeom>
              <a:avLst/>
              <a:gdLst>
                <a:gd name="T0" fmla="*/ 6 w 671"/>
                <a:gd name="T1" fmla="*/ 383 h 549"/>
                <a:gd name="T2" fmla="*/ 8 w 671"/>
                <a:gd name="T3" fmla="*/ 316 h 549"/>
                <a:gd name="T4" fmla="*/ 17 w 671"/>
                <a:gd name="T5" fmla="*/ 287 h 549"/>
                <a:gd name="T6" fmla="*/ 52 w 671"/>
                <a:gd name="T7" fmla="*/ 238 h 549"/>
                <a:gd name="T8" fmla="*/ 71 w 671"/>
                <a:gd name="T9" fmla="*/ 205 h 549"/>
                <a:gd name="T10" fmla="*/ 73 w 671"/>
                <a:gd name="T11" fmla="*/ 167 h 549"/>
                <a:gd name="T12" fmla="*/ 73 w 671"/>
                <a:gd name="T13" fmla="*/ 137 h 549"/>
                <a:gd name="T14" fmla="*/ 54 w 671"/>
                <a:gd name="T15" fmla="*/ 108 h 549"/>
                <a:gd name="T16" fmla="*/ 61 w 671"/>
                <a:gd name="T17" fmla="*/ 79 h 549"/>
                <a:gd name="T18" fmla="*/ 76 w 671"/>
                <a:gd name="T19" fmla="*/ 50 h 549"/>
                <a:gd name="T20" fmla="*/ 96 w 671"/>
                <a:gd name="T21" fmla="*/ 25 h 549"/>
                <a:gd name="T22" fmla="*/ 120 w 671"/>
                <a:gd name="T23" fmla="*/ 7 h 549"/>
                <a:gd name="T24" fmla="*/ 146 w 671"/>
                <a:gd name="T25" fmla="*/ 0 h 549"/>
                <a:gd name="T26" fmla="*/ 173 w 671"/>
                <a:gd name="T27" fmla="*/ 5 h 549"/>
                <a:gd name="T28" fmla="*/ 206 w 671"/>
                <a:gd name="T29" fmla="*/ 26 h 549"/>
                <a:gd name="T30" fmla="*/ 236 w 671"/>
                <a:gd name="T31" fmla="*/ 45 h 549"/>
                <a:gd name="T32" fmla="*/ 259 w 671"/>
                <a:gd name="T33" fmla="*/ 50 h 549"/>
                <a:gd name="T34" fmla="*/ 272 w 671"/>
                <a:gd name="T35" fmla="*/ 44 h 549"/>
                <a:gd name="T36" fmla="*/ 284 w 671"/>
                <a:gd name="T37" fmla="*/ 35 h 549"/>
                <a:gd name="T38" fmla="*/ 300 w 671"/>
                <a:gd name="T39" fmla="*/ 32 h 549"/>
                <a:gd name="T40" fmla="*/ 318 w 671"/>
                <a:gd name="T41" fmla="*/ 39 h 549"/>
                <a:gd name="T42" fmla="*/ 337 w 671"/>
                <a:gd name="T43" fmla="*/ 65 h 549"/>
                <a:gd name="T44" fmla="*/ 353 w 671"/>
                <a:gd name="T45" fmla="*/ 79 h 549"/>
                <a:gd name="T46" fmla="*/ 370 w 671"/>
                <a:gd name="T47" fmla="*/ 81 h 549"/>
                <a:gd name="T48" fmla="*/ 381 w 671"/>
                <a:gd name="T49" fmla="*/ 75 h 549"/>
                <a:gd name="T50" fmla="*/ 397 w 671"/>
                <a:gd name="T51" fmla="*/ 56 h 549"/>
                <a:gd name="T52" fmla="*/ 419 w 671"/>
                <a:gd name="T53" fmla="*/ 38 h 549"/>
                <a:gd name="T54" fmla="*/ 458 w 671"/>
                <a:gd name="T55" fmla="*/ 22 h 549"/>
                <a:gd name="T56" fmla="*/ 487 w 671"/>
                <a:gd name="T57" fmla="*/ 25 h 549"/>
                <a:gd name="T58" fmla="*/ 511 w 671"/>
                <a:gd name="T59" fmla="*/ 35 h 549"/>
                <a:gd name="T60" fmla="*/ 537 w 671"/>
                <a:gd name="T61" fmla="*/ 43 h 549"/>
                <a:gd name="T62" fmla="*/ 571 w 671"/>
                <a:gd name="T63" fmla="*/ 39 h 549"/>
                <a:gd name="T64" fmla="*/ 646 w 671"/>
                <a:gd name="T65" fmla="*/ 67 h 549"/>
                <a:gd name="T66" fmla="*/ 665 w 671"/>
                <a:gd name="T67" fmla="*/ 105 h 549"/>
                <a:gd name="T68" fmla="*/ 623 w 671"/>
                <a:gd name="T69" fmla="*/ 183 h 549"/>
                <a:gd name="T70" fmla="*/ 593 w 671"/>
                <a:gd name="T71" fmla="*/ 233 h 549"/>
                <a:gd name="T72" fmla="*/ 570 w 671"/>
                <a:gd name="T73" fmla="*/ 291 h 549"/>
                <a:gd name="T74" fmla="*/ 550 w 671"/>
                <a:gd name="T75" fmla="*/ 343 h 549"/>
                <a:gd name="T76" fmla="*/ 525 w 671"/>
                <a:gd name="T77" fmla="*/ 407 h 549"/>
                <a:gd name="T78" fmla="*/ 516 w 671"/>
                <a:gd name="T79" fmla="*/ 422 h 549"/>
                <a:gd name="T80" fmla="*/ 500 w 671"/>
                <a:gd name="T81" fmla="*/ 439 h 549"/>
                <a:gd name="T82" fmla="*/ 482 w 671"/>
                <a:gd name="T83" fmla="*/ 443 h 549"/>
                <a:gd name="T84" fmla="*/ 459 w 671"/>
                <a:gd name="T85" fmla="*/ 432 h 549"/>
                <a:gd name="T86" fmla="*/ 440 w 671"/>
                <a:gd name="T87" fmla="*/ 421 h 549"/>
                <a:gd name="T88" fmla="*/ 408 w 671"/>
                <a:gd name="T89" fmla="*/ 424 h 549"/>
                <a:gd name="T90" fmla="*/ 381 w 671"/>
                <a:gd name="T91" fmla="*/ 441 h 549"/>
                <a:gd name="T92" fmla="*/ 364 w 671"/>
                <a:gd name="T93" fmla="*/ 469 h 549"/>
                <a:gd name="T94" fmla="*/ 342 w 671"/>
                <a:gd name="T95" fmla="*/ 521 h 549"/>
                <a:gd name="T96" fmla="*/ 325 w 671"/>
                <a:gd name="T97" fmla="*/ 549 h 549"/>
                <a:gd name="T98" fmla="*/ 229 w 671"/>
                <a:gd name="T99" fmla="*/ 546 h 549"/>
                <a:gd name="T100" fmla="*/ 217 w 671"/>
                <a:gd name="T101" fmla="*/ 548 h 549"/>
                <a:gd name="T102" fmla="*/ 179 w 671"/>
                <a:gd name="T103" fmla="*/ 543 h 549"/>
                <a:gd name="T104" fmla="*/ 161 w 671"/>
                <a:gd name="T105" fmla="*/ 540 h 549"/>
                <a:gd name="T106" fmla="*/ 144 w 671"/>
                <a:gd name="T107" fmla="*/ 531 h 549"/>
                <a:gd name="T108" fmla="*/ 129 w 671"/>
                <a:gd name="T109" fmla="*/ 515 h 549"/>
                <a:gd name="T110" fmla="*/ 119 w 671"/>
                <a:gd name="T111" fmla="*/ 496 h 549"/>
                <a:gd name="T112" fmla="*/ 113 w 671"/>
                <a:gd name="T113" fmla="*/ 472 h 549"/>
                <a:gd name="T114" fmla="*/ 100 w 671"/>
                <a:gd name="T115" fmla="*/ 460 h 549"/>
                <a:gd name="T116" fmla="*/ 83 w 671"/>
                <a:gd name="T117" fmla="*/ 447 h 549"/>
                <a:gd name="T118" fmla="*/ 63 w 671"/>
                <a:gd name="T119" fmla="*/ 432 h 549"/>
                <a:gd name="T120" fmla="*/ 39 w 671"/>
                <a:gd name="T121" fmla="*/ 429 h 549"/>
                <a:gd name="T122" fmla="*/ 0 w 671"/>
                <a:gd name="T123" fmla="*/ 438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4" name="Freeform 33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4922838" y="3097213"/>
              <a:ext cx="152400" cy="169862"/>
            </a:xfrm>
            <a:custGeom>
              <a:avLst/>
              <a:gdLst>
                <a:gd name="T0" fmla="*/ 326 w 358"/>
                <a:gd name="T1" fmla="*/ 324 h 327"/>
                <a:gd name="T2" fmla="*/ 331 w 358"/>
                <a:gd name="T3" fmla="*/ 321 h 327"/>
                <a:gd name="T4" fmla="*/ 337 w 358"/>
                <a:gd name="T5" fmla="*/ 318 h 327"/>
                <a:gd name="T6" fmla="*/ 346 w 358"/>
                <a:gd name="T7" fmla="*/ 318 h 327"/>
                <a:gd name="T8" fmla="*/ 356 w 358"/>
                <a:gd name="T9" fmla="*/ 324 h 327"/>
                <a:gd name="T10" fmla="*/ 319 w 358"/>
                <a:gd name="T11" fmla="*/ 285 h 327"/>
                <a:gd name="T12" fmla="*/ 278 w 358"/>
                <a:gd name="T13" fmla="*/ 235 h 327"/>
                <a:gd name="T14" fmla="*/ 253 w 358"/>
                <a:gd name="T15" fmla="*/ 204 h 327"/>
                <a:gd name="T16" fmla="*/ 232 w 358"/>
                <a:gd name="T17" fmla="*/ 186 h 327"/>
                <a:gd name="T18" fmla="*/ 219 w 358"/>
                <a:gd name="T19" fmla="*/ 181 h 327"/>
                <a:gd name="T20" fmla="*/ 208 w 358"/>
                <a:gd name="T21" fmla="*/ 180 h 327"/>
                <a:gd name="T22" fmla="*/ 201 w 358"/>
                <a:gd name="T23" fmla="*/ 179 h 327"/>
                <a:gd name="T24" fmla="*/ 199 w 358"/>
                <a:gd name="T25" fmla="*/ 174 h 327"/>
                <a:gd name="T26" fmla="*/ 198 w 358"/>
                <a:gd name="T27" fmla="*/ 170 h 327"/>
                <a:gd name="T28" fmla="*/ 195 w 358"/>
                <a:gd name="T29" fmla="*/ 169 h 327"/>
                <a:gd name="T30" fmla="*/ 184 w 358"/>
                <a:gd name="T31" fmla="*/ 172 h 327"/>
                <a:gd name="T32" fmla="*/ 171 w 358"/>
                <a:gd name="T33" fmla="*/ 172 h 327"/>
                <a:gd name="T34" fmla="*/ 165 w 358"/>
                <a:gd name="T35" fmla="*/ 168 h 327"/>
                <a:gd name="T36" fmla="*/ 160 w 358"/>
                <a:gd name="T37" fmla="*/ 161 h 327"/>
                <a:gd name="T38" fmla="*/ 152 w 358"/>
                <a:gd name="T39" fmla="*/ 144 h 327"/>
                <a:gd name="T40" fmla="*/ 143 w 358"/>
                <a:gd name="T41" fmla="*/ 131 h 327"/>
                <a:gd name="T42" fmla="*/ 133 w 358"/>
                <a:gd name="T43" fmla="*/ 119 h 327"/>
                <a:gd name="T44" fmla="*/ 127 w 358"/>
                <a:gd name="T45" fmla="*/ 105 h 327"/>
                <a:gd name="T46" fmla="*/ 122 w 358"/>
                <a:gd name="T47" fmla="*/ 84 h 327"/>
                <a:gd name="T48" fmla="*/ 119 w 358"/>
                <a:gd name="T49" fmla="*/ 53 h 327"/>
                <a:gd name="T50" fmla="*/ 117 w 358"/>
                <a:gd name="T51" fmla="*/ 23 h 327"/>
                <a:gd name="T52" fmla="*/ 112 w 358"/>
                <a:gd name="T53" fmla="*/ 0 h 327"/>
                <a:gd name="T54" fmla="*/ 73 w 358"/>
                <a:gd name="T55" fmla="*/ 26 h 327"/>
                <a:gd name="T56" fmla="*/ 61 w 358"/>
                <a:gd name="T57" fmla="*/ 33 h 327"/>
                <a:gd name="T58" fmla="*/ 33 w 358"/>
                <a:gd name="T59" fmla="*/ 50 h 327"/>
                <a:gd name="T60" fmla="*/ 21 w 358"/>
                <a:gd name="T61" fmla="*/ 61 h 327"/>
                <a:gd name="T62" fmla="*/ 17 w 358"/>
                <a:gd name="T63" fmla="*/ 72 h 327"/>
                <a:gd name="T64" fmla="*/ 16 w 358"/>
                <a:gd name="T65" fmla="*/ 83 h 327"/>
                <a:gd name="T66" fmla="*/ 20 w 358"/>
                <a:gd name="T67" fmla="*/ 93 h 327"/>
                <a:gd name="T68" fmla="*/ 22 w 358"/>
                <a:gd name="T69" fmla="*/ 100 h 327"/>
                <a:gd name="T70" fmla="*/ 20 w 358"/>
                <a:gd name="T71" fmla="*/ 110 h 327"/>
                <a:gd name="T72" fmla="*/ 15 w 358"/>
                <a:gd name="T73" fmla="*/ 123 h 327"/>
                <a:gd name="T74" fmla="*/ 7 w 358"/>
                <a:gd name="T75" fmla="*/ 136 h 327"/>
                <a:gd name="T76" fmla="*/ 0 w 358"/>
                <a:gd name="T77" fmla="*/ 155 h 327"/>
                <a:gd name="T78" fmla="*/ 0 w 358"/>
                <a:gd name="T79" fmla="*/ 174 h 327"/>
                <a:gd name="T80" fmla="*/ 5 w 358"/>
                <a:gd name="T81" fmla="*/ 182 h 327"/>
                <a:gd name="T82" fmla="*/ 11 w 358"/>
                <a:gd name="T83" fmla="*/ 187 h 327"/>
                <a:gd name="T84" fmla="*/ 20 w 358"/>
                <a:gd name="T85" fmla="*/ 186 h 327"/>
                <a:gd name="T86" fmla="*/ 44 w 358"/>
                <a:gd name="T87" fmla="*/ 168 h 327"/>
                <a:gd name="T88" fmla="*/ 60 w 358"/>
                <a:gd name="T89" fmla="*/ 161 h 327"/>
                <a:gd name="T90" fmla="*/ 76 w 358"/>
                <a:gd name="T91" fmla="*/ 150 h 327"/>
                <a:gd name="T92" fmla="*/ 93 w 358"/>
                <a:gd name="T93" fmla="*/ 159 h 327"/>
                <a:gd name="T94" fmla="*/ 110 w 358"/>
                <a:gd name="T95" fmla="*/ 164 h 327"/>
                <a:gd name="T96" fmla="*/ 142 w 358"/>
                <a:gd name="T97" fmla="*/ 180 h 327"/>
                <a:gd name="T98" fmla="*/ 163 w 358"/>
                <a:gd name="T99" fmla="*/ 190 h 327"/>
                <a:gd name="T100" fmla="*/ 196 w 358"/>
                <a:gd name="T101" fmla="*/ 209 h 327"/>
                <a:gd name="T102" fmla="*/ 219 w 358"/>
                <a:gd name="T103" fmla="*/ 225 h 327"/>
                <a:gd name="T104" fmla="*/ 245 w 358"/>
                <a:gd name="T105" fmla="*/ 244 h 327"/>
                <a:gd name="T106" fmla="*/ 256 w 358"/>
                <a:gd name="T107" fmla="*/ 254 h 327"/>
                <a:gd name="T108" fmla="*/ 267 w 358"/>
                <a:gd name="T109" fmla="*/ 270 h 327"/>
                <a:gd name="T110" fmla="*/ 269 w 358"/>
                <a:gd name="T111" fmla="*/ 279 h 327"/>
                <a:gd name="T112" fmla="*/ 269 w 358"/>
                <a:gd name="T113" fmla="*/ 286 h 327"/>
                <a:gd name="T114" fmla="*/ 270 w 358"/>
                <a:gd name="T115" fmla="*/ 290 h 327"/>
                <a:gd name="T116" fmla="*/ 276 w 358"/>
                <a:gd name="T117" fmla="*/ 292 h 327"/>
                <a:gd name="T118" fmla="*/ 292 w 358"/>
                <a:gd name="T119" fmla="*/ 302 h 327"/>
                <a:gd name="T120" fmla="*/ 318 w 358"/>
                <a:gd name="T121" fmla="*/ 321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5" name="Freeform 34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4384675" y="2101850"/>
              <a:ext cx="125413" cy="57150"/>
            </a:xfrm>
            <a:custGeom>
              <a:avLst/>
              <a:gdLst>
                <a:gd name="T0" fmla="*/ 126 w 292"/>
                <a:gd name="T1" fmla="*/ 0 h 99"/>
                <a:gd name="T2" fmla="*/ 153 w 292"/>
                <a:gd name="T3" fmla="*/ 0 h 99"/>
                <a:gd name="T4" fmla="*/ 198 w 292"/>
                <a:gd name="T5" fmla="*/ 1 h 99"/>
                <a:gd name="T6" fmla="*/ 250 w 292"/>
                <a:gd name="T7" fmla="*/ 6 h 99"/>
                <a:gd name="T8" fmla="*/ 292 w 292"/>
                <a:gd name="T9" fmla="*/ 7 h 99"/>
                <a:gd name="T10" fmla="*/ 290 w 292"/>
                <a:gd name="T11" fmla="*/ 20 h 99"/>
                <a:gd name="T12" fmla="*/ 285 w 292"/>
                <a:gd name="T13" fmla="*/ 33 h 99"/>
                <a:gd name="T14" fmla="*/ 279 w 292"/>
                <a:gd name="T15" fmla="*/ 55 h 99"/>
                <a:gd name="T16" fmla="*/ 135 w 292"/>
                <a:gd name="T17" fmla="*/ 70 h 99"/>
                <a:gd name="T18" fmla="*/ 99 w 292"/>
                <a:gd name="T19" fmla="*/ 89 h 99"/>
                <a:gd name="T20" fmla="*/ 79 w 292"/>
                <a:gd name="T21" fmla="*/ 96 h 99"/>
                <a:gd name="T22" fmla="*/ 66 w 292"/>
                <a:gd name="T23" fmla="*/ 98 h 99"/>
                <a:gd name="T24" fmla="*/ 55 w 292"/>
                <a:gd name="T25" fmla="*/ 98 h 99"/>
                <a:gd name="T26" fmla="*/ 45 w 292"/>
                <a:gd name="T27" fmla="*/ 94 h 99"/>
                <a:gd name="T28" fmla="*/ 33 w 292"/>
                <a:gd name="T29" fmla="*/ 86 h 99"/>
                <a:gd name="T30" fmla="*/ 20 w 292"/>
                <a:gd name="T31" fmla="*/ 77 h 99"/>
                <a:gd name="T32" fmla="*/ 7 w 292"/>
                <a:gd name="T33" fmla="*/ 69 h 99"/>
                <a:gd name="T34" fmla="*/ 1 w 292"/>
                <a:gd name="T35" fmla="*/ 57 h 99"/>
                <a:gd name="T36" fmla="*/ 0 w 292"/>
                <a:gd name="T37" fmla="*/ 42 h 99"/>
                <a:gd name="T38" fmla="*/ 1 w 292"/>
                <a:gd name="T39" fmla="*/ 25 h 99"/>
                <a:gd name="T40" fmla="*/ 3 w 292"/>
                <a:gd name="T41" fmla="*/ 20 h 99"/>
                <a:gd name="T42" fmla="*/ 9 w 292"/>
                <a:gd name="T43" fmla="*/ 18 h 99"/>
                <a:gd name="T44" fmla="*/ 15 w 292"/>
                <a:gd name="T45" fmla="*/ 21 h 99"/>
                <a:gd name="T46" fmla="*/ 25 w 292"/>
                <a:gd name="T47" fmla="*/ 28 h 99"/>
                <a:gd name="T48" fmla="*/ 35 w 292"/>
                <a:gd name="T49" fmla="*/ 32 h 99"/>
                <a:gd name="T50" fmla="*/ 45 w 292"/>
                <a:gd name="T51" fmla="*/ 34 h 99"/>
                <a:gd name="T52" fmla="*/ 54 w 292"/>
                <a:gd name="T53" fmla="*/ 33 h 99"/>
                <a:gd name="T54" fmla="*/ 67 w 292"/>
                <a:gd name="T55" fmla="*/ 29 h 99"/>
                <a:gd name="T56" fmla="*/ 81 w 292"/>
                <a:gd name="T57" fmla="*/ 19 h 99"/>
                <a:gd name="T58" fmla="*/ 88 w 292"/>
                <a:gd name="T59" fmla="*/ 11 h 99"/>
                <a:gd name="T60" fmla="*/ 94 w 292"/>
                <a:gd name="T61" fmla="*/ 6 h 99"/>
                <a:gd name="T62" fmla="*/ 109 w 292"/>
                <a:gd name="T63" fmla="*/ 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6" name="Freeform 35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5248275" y="2822575"/>
              <a:ext cx="19050" cy="57150"/>
            </a:xfrm>
            <a:custGeom>
              <a:avLst/>
              <a:gdLst>
                <a:gd name="T0" fmla="*/ 39 w 43"/>
                <a:gd name="T1" fmla="*/ 93 h 93"/>
                <a:gd name="T2" fmla="*/ 31 w 43"/>
                <a:gd name="T3" fmla="*/ 91 h 93"/>
                <a:gd name="T4" fmla="*/ 26 w 43"/>
                <a:gd name="T5" fmla="*/ 89 h 93"/>
                <a:gd name="T6" fmla="*/ 21 w 43"/>
                <a:gd name="T7" fmla="*/ 87 h 93"/>
                <a:gd name="T8" fmla="*/ 18 w 43"/>
                <a:gd name="T9" fmla="*/ 84 h 93"/>
                <a:gd name="T10" fmla="*/ 15 w 43"/>
                <a:gd name="T11" fmla="*/ 79 h 93"/>
                <a:gd name="T12" fmla="*/ 14 w 43"/>
                <a:gd name="T13" fmla="*/ 73 h 93"/>
                <a:gd name="T14" fmla="*/ 13 w 43"/>
                <a:gd name="T15" fmla="*/ 65 h 93"/>
                <a:gd name="T16" fmla="*/ 11 w 43"/>
                <a:gd name="T17" fmla="*/ 55 h 93"/>
                <a:gd name="T18" fmla="*/ 11 w 43"/>
                <a:gd name="T19" fmla="*/ 48 h 93"/>
                <a:gd name="T20" fmla="*/ 9 w 43"/>
                <a:gd name="T21" fmla="*/ 42 h 93"/>
                <a:gd name="T22" fmla="*/ 6 w 43"/>
                <a:gd name="T23" fmla="*/ 38 h 93"/>
                <a:gd name="T24" fmla="*/ 4 w 43"/>
                <a:gd name="T25" fmla="*/ 36 h 93"/>
                <a:gd name="T26" fmla="*/ 2 w 43"/>
                <a:gd name="T27" fmla="*/ 34 h 93"/>
                <a:gd name="T28" fmla="*/ 0 w 43"/>
                <a:gd name="T29" fmla="*/ 32 h 93"/>
                <a:gd name="T30" fmla="*/ 2 w 43"/>
                <a:gd name="T31" fmla="*/ 29 h 93"/>
                <a:gd name="T32" fmla="*/ 5 w 43"/>
                <a:gd name="T33" fmla="*/ 24 h 93"/>
                <a:gd name="T34" fmla="*/ 6 w 43"/>
                <a:gd name="T35" fmla="*/ 28 h 93"/>
                <a:gd name="T36" fmla="*/ 7 w 43"/>
                <a:gd name="T37" fmla="*/ 29 h 93"/>
                <a:gd name="T38" fmla="*/ 8 w 43"/>
                <a:gd name="T39" fmla="*/ 30 h 93"/>
                <a:gd name="T40" fmla="*/ 9 w 43"/>
                <a:gd name="T41" fmla="*/ 29 h 93"/>
                <a:gd name="T42" fmla="*/ 11 w 43"/>
                <a:gd name="T43" fmla="*/ 25 h 93"/>
                <a:gd name="T44" fmla="*/ 14 w 43"/>
                <a:gd name="T45" fmla="*/ 19 h 93"/>
                <a:gd name="T46" fmla="*/ 16 w 43"/>
                <a:gd name="T47" fmla="*/ 12 h 93"/>
                <a:gd name="T48" fmla="*/ 20 w 43"/>
                <a:gd name="T49" fmla="*/ 6 h 93"/>
                <a:gd name="T50" fmla="*/ 22 w 43"/>
                <a:gd name="T51" fmla="*/ 4 h 93"/>
                <a:gd name="T52" fmla="*/ 25 w 43"/>
                <a:gd name="T53" fmla="*/ 2 h 93"/>
                <a:gd name="T54" fmla="*/ 28 w 43"/>
                <a:gd name="T55" fmla="*/ 0 h 93"/>
                <a:gd name="T56" fmla="*/ 32 w 43"/>
                <a:gd name="T57" fmla="*/ 0 h 93"/>
                <a:gd name="T58" fmla="*/ 33 w 43"/>
                <a:gd name="T59" fmla="*/ 10 h 93"/>
                <a:gd name="T60" fmla="*/ 33 w 43"/>
                <a:gd name="T61" fmla="*/ 16 h 93"/>
                <a:gd name="T62" fmla="*/ 33 w 43"/>
                <a:gd name="T63" fmla="*/ 20 h 93"/>
                <a:gd name="T64" fmla="*/ 32 w 43"/>
                <a:gd name="T65" fmla="*/ 23 h 93"/>
                <a:gd name="T66" fmla="*/ 32 w 43"/>
                <a:gd name="T67" fmla="*/ 27 h 93"/>
                <a:gd name="T68" fmla="*/ 32 w 43"/>
                <a:gd name="T69" fmla="*/ 31 h 93"/>
                <a:gd name="T70" fmla="*/ 35 w 43"/>
                <a:gd name="T71" fmla="*/ 36 h 93"/>
                <a:gd name="T72" fmla="*/ 39 w 43"/>
                <a:gd name="T73" fmla="*/ 43 h 93"/>
                <a:gd name="T74" fmla="*/ 38 w 43"/>
                <a:gd name="T75" fmla="*/ 44 h 93"/>
                <a:gd name="T76" fmla="*/ 37 w 43"/>
                <a:gd name="T77" fmla="*/ 45 h 93"/>
                <a:gd name="T78" fmla="*/ 37 w 43"/>
                <a:gd name="T79" fmla="*/ 48 h 93"/>
                <a:gd name="T80" fmla="*/ 38 w 43"/>
                <a:gd name="T81" fmla="*/ 51 h 93"/>
                <a:gd name="T82" fmla="*/ 39 w 43"/>
                <a:gd name="T83" fmla="*/ 59 h 93"/>
                <a:gd name="T84" fmla="*/ 41 w 43"/>
                <a:gd name="T85" fmla="*/ 68 h 93"/>
                <a:gd name="T86" fmla="*/ 42 w 43"/>
                <a:gd name="T87" fmla="*/ 76 h 93"/>
                <a:gd name="T88" fmla="*/ 43 w 43"/>
                <a:gd name="T89" fmla="*/ 85 h 93"/>
                <a:gd name="T90" fmla="*/ 43 w 43"/>
                <a:gd name="T91" fmla="*/ 88 h 93"/>
                <a:gd name="T92" fmla="*/ 42 w 43"/>
                <a:gd name="T93" fmla="*/ 91 h 93"/>
                <a:gd name="T94" fmla="*/ 40 w 43"/>
                <a:gd name="T95" fmla="*/ 92 h 93"/>
                <a:gd name="T96" fmla="*/ 39 w 43"/>
                <a:gd name="T97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7" name="Freeform 36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5367338" y="2827338"/>
              <a:ext cx="14287" cy="57150"/>
            </a:xfrm>
            <a:custGeom>
              <a:avLst/>
              <a:gdLst>
                <a:gd name="T0" fmla="*/ 40 w 40"/>
                <a:gd name="T1" fmla="*/ 56 h 56"/>
                <a:gd name="T2" fmla="*/ 37 w 40"/>
                <a:gd name="T3" fmla="*/ 46 h 56"/>
                <a:gd name="T4" fmla="*/ 33 w 40"/>
                <a:gd name="T5" fmla="*/ 38 h 56"/>
                <a:gd name="T6" fmla="*/ 28 w 40"/>
                <a:gd name="T7" fmla="*/ 32 h 56"/>
                <a:gd name="T8" fmla="*/ 23 w 40"/>
                <a:gd name="T9" fmla="*/ 28 h 56"/>
                <a:gd name="T10" fmla="*/ 11 w 40"/>
                <a:gd name="T11" fmla="*/ 21 h 56"/>
                <a:gd name="T12" fmla="*/ 0 w 40"/>
                <a:gd name="T13" fmla="*/ 12 h 56"/>
                <a:gd name="T14" fmla="*/ 13 w 40"/>
                <a:gd name="T15" fmla="*/ 4 h 56"/>
                <a:gd name="T16" fmla="*/ 20 w 40"/>
                <a:gd name="T17" fmla="*/ 0 h 56"/>
                <a:gd name="T18" fmla="*/ 28 w 40"/>
                <a:gd name="T19" fmla="*/ 12 h 56"/>
                <a:gd name="T20" fmla="*/ 35 w 40"/>
                <a:gd name="T21" fmla="*/ 22 h 56"/>
                <a:gd name="T22" fmla="*/ 37 w 40"/>
                <a:gd name="T23" fmla="*/ 25 h 56"/>
                <a:gd name="T24" fmla="*/ 39 w 40"/>
                <a:gd name="T25" fmla="*/ 29 h 56"/>
                <a:gd name="T26" fmla="*/ 39 w 40"/>
                <a:gd name="T27" fmla="*/ 33 h 56"/>
                <a:gd name="T28" fmla="*/ 40 w 40"/>
                <a:gd name="T29" fmla="*/ 37 h 56"/>
                <a:gd name="T30" fmla="*/ 40 w 40"/>
                <a:gd name="T31" fmla="*/ 44 h 56"/>
                <a:gd name="T32" fmla="*/ 40 w 40"/>
                <a:gd name="T33" fmla="*/ 46 h 56"/>
                <a:gd name="T34" fmla="*/ 40 w 40"/>
                <a:gd name="T35" fmla="*/ 49 h 56"/>
                <a:gd name="T36" fmla="*/ 40 w 40"/>
                <a:gd name="T3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8" name="Freeform 37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6854825" y="3487738"/>
              <a:ext cx="44450" cy="57150"/>
            </a:xfrm>
            <a:custGeom>
              <a:avLst/>
              <a:gdLst>
                <a:gd name="T0" fmla="*/ 0 w 106"/>
                <a:gd name="T1" fmla="*/ 7 h 71"/>
                <a:gd name="T2" fmla="*/ 12 w 106"/>
                <a:gd name="T3" fmla="*/ 10 h 71"/>
                <a:gd name="T4" fmla="*/ 24 w 106"/>
                <a:gd name="T5" fmla="*/ 12 h 71"/>
                <a:gd name="T6" fmla="*/ 35 w 106"/>
                <a:gd name="T7" fmla="*/ 13 h 71"/>
                <a:gd name="T8" fmla="*/ 45 w 106"/>
                <a:gd name="T9" fmla="*/ 13 h 71"/>
                <a:gd name="T10" fmla="*/ 54 w 106"/>
                <a:gd name="T11" fmla="*/ 11 h 71"/>
                <a:gd name="T12" fmla="*/ 61 w 106"/>
                <a:gd name="T13" fmla="*/ 8 h 71"/>
                <a:gd name="T14" fmla="*/ 68 w 106"/>
                <a:gd name="T15" fmla="*/ 5 h 71"/>
                <a:gd name="T16" fmla="*/ 74 w 106"/>
                <a:gd name="T17" fmla="*/ 0 h 71"/>
                <a:gd name="T18" fmla="*/ 84 w 106"/>
                <a:gd name="T19" fmla="*/ 16 h 71"/>
                <a:gd name="T20" fmla="*/ 94 w 106"/>
                <a:gd name="T21" fmla="*/ 30 h 71"/>
                <a:gd name="T22" fmla="*/ 101 w 106"/>
                <a:gd name="T23" fmla="*/ 44 h 71"/>
                <a:gd name="T24" fmla="*/ 105 w 106"/>
                <a:gd name="T25" fmla="*/ 55 h 71"/>
                <a:gd name="T26" fmla="*/ 106 w 106"/>
                <a:gd name="T27" fmla="*/ 60 h 71"/>
                <a:gd name="T28" fmla="*/ 106 w 106"/>
                <a:gd name="T29" fmla="*/ 63 h 71"/>
                <a:gd name="T30" fmla="*/ 105 w 106"/>
                <a:gd name="T31" fmla="*/ 67 h 71"/>
                <a:gd name="T32" fmla="*/ 103 w 106"/>
                <a:gd name="T33" fmla="*/ 69 h 71"/>
                <a:gd name="T34" fmla="*/ 101 w 106"/>
                <a:gd name="T35" fmla="*/ 70 h 71"/>
                <a:gd name="T36" fmla="*/ 98 w 106"/>
                <a:gd name="T37" fmla="*/ 70 h 71"/>
                <a:gd name="T38" fmla="*/ 92 w 106"/>
                <a:gd name="T39" fmla="*/ 70 h 71"/>
                <a:gd name="T40" fmla="*/ 87 w 106"/>
                <a:gd name="T41" fmla="*/ 68 h 71"/>
                <a:gd name="T42" fmla="*/ 74 w 106"/>
                <a:gd name="T43" fmla="*/ 70 h 71"/>
                <a:gd name="T44" fmla="*/ 63 w 106"/>
                <a:gd name="T45" fmla="*/ 71 h 71"/>
                <a:gd name="T46" fmla="*/ 53 w 106"/>
                <a:gd name="T47" fmla="*/ 69 h 71"/>
                <a:gd name="T48" fmla="*/ 45 w 106"/>
                <a:gd name="T49" fmla="*/ 66 h 71"/>
                <a:gd name="T50" fmla="*/ 37 w 106"/>
                <a:gd name="T51" fmla="*/ 62 h 71"/>
                <a:gd name="T52" fmla="*/ 32 w 106"/>
                <a:gd name="T53" fmla="*/ 57 h 71"/>
                <a:gd name="T54" fmla="*/ 27 w 106"/>
                <a:gd name="T55" fmla="*/ 51 h 71"/>
                <a:gd name="T56" fmla="*/ 24 w 106"/>
                <a:gd name="T57" fmla="*/ 45 h 71"/>
                <a:gd name="T58" fmla="*/ 21 w 106"/>
                <a:gd name="T59" fmla="*/ 38 h 71"/>
                <a:gd name="T60" fmla="*/ 20 w 106"/>
                <a:gd name="T61" fmla="*/ 30 h 71"/>
                <a:gd name="T62" fmla="*/ 19 w 106"/>
                <a:gd name="T63" fmla="*/ 24 h 71"/>
                <a:gd name="T64" fmla="*/ 18 w 106"/>
                <a:gd name="T65" fmla="*/ 19 h 71"/>
                <a:gd name="T66" fmla="*/ 18 w 106"/>
                <a:gd name="T67" fmla="*/ 14 h 71"/>
                <a:gd name="T68" fmla="*/ 19 w 106"/>
                <a:gd name="T69" fmla="*/ 10 h 71"/>
                <a:gd name="T70" fmla="*/ 20 w 106"/>
                <a:gd name="T71" fmla="*/ 7 h 71"/>
                <a:gd name="T72" fmla="*/ 21 w 106"/>
                <a:gd name="T73" fmla="*/ 7 h 71"/>
                <a:gd name="T74" fmla="*/ 20 w 106"/>
                <a:gd name="T75" fmla="*/ 10 h 71"/>
                <a:gd name="T76" fmla="*/ 19 w 106"/>
                <a:gd name="T77" fmla="*/ 16 h 71"/>
                <a:gd name="T78" fmla="*/ 19 w 106"/>
                <a:gd name="T79" fmla="*/ 17 h 71"/>
                <a:gd name="T80" fmla="*/ 19 w 106"/>
                <a:gd name="T81" fmla="*/ 17 h 71"/>
                <a:gd name="T82" fmla="*/ 20 w 106"/>
                <a:gd name="T83" fmla="*/ 17 h 71"/>
                <a:gd name="T84" fmla="*/ 21 w 106"/>
                <a:gd name="T85" fmla="*/ 17 h 71"/>
                <a:gd name="T86" fmla="*/ 23 w 106"/>
                <a:gd name="T87" fmla="*/ 13 h 71"/>
                <a:gd name="T88" fmla="*/ 27 w 106"/>
                <a:gd name="T89" fmla="*/ 7 h 71"/>
                <a:gd name="T90" fmla="*/ 0 w 106"/>
                <a:gd name="T91" fmla="*/ 7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A5D7D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grpSp>
          <p:nvGrpSpPr>
            <p:cNvPr id="39" name="Group 38"/>
            <p:cNvGrpSpPr>
              <a:grpSpLocks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2706688" y="5295900"/>
              <a:ext cx="65087" cy="55563"/>
              <a:chOff x="1654" y="3671"/>
              <a:chExt cx="49" cy="17"/>
            </a:xfrm>
          </p:grpSpPr>
          <p:sp>
            <p:nvSpPr>
              <p:cNvPr id="550" name="Freeform 39"/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26 w 59"/>
                  <a:gd name="T1" fmla="*/ 43 h 43"/>
                  <a:gd name="T2" fmla="*/ 59 w 59"/>
                  <a:gd name="T3" fmla="*/ 18 h 43"/>
                  <a:gd name="T4" fmla="*/ 55 w 59"/>
                  <a:gd name="T5" fmla="*/ 14 h 43"/>
                  <a:gd name="T6" fmla="*/ 51 w 59"/>
                  <a:gd name="T7" fmla="*/ 9 h 43"/>
                  <a:gd name="T8" fmla="*/ 47 w 59"/>
                  <a:gd name="T9" fmla="*/ 5 h 43"/>
                  <a:gd name="T10" fmla="*/ 46 w 59"/>
                  <a:gd name="T11" fmla="*/ 0 h 43"/>
                  <a:gd name="T12" fmla="*/ 41 w 59"/>
                  <a:gd name="T13" fmla="*/ 1 h 43"/>
                  <a:gd name="T14" fmla="*/ 34 w 59"/>
                  <a:gd name="T15" fmla="*/ 4 h 43"/>
                  <a:gd name="T16" fmla="*/ 31 w 59"/>
                  <a:gd name="T17" fmla="*/ 6 h 43"/>
                  <a:gd name="T18" fmla="*/ 29 w 59"/>
                  <a:gd name="T19" fmla="*/ 8 h 43"/>
                  <a:gd name="T20" fmla="*/ 26 w 59"/>
                  <a:gd name="T21" fmla="*/ 10 h 43"/>
                  <a:gd name="T22" fmla="*/ 26 w 59"/>
                  <a:gd name="T23" fmla="*/ 12 h 43"/>
                  <a:gd name="T24" fmla="*/ 20 w 59"/>
                  <a:gd name="T25" fmla="*/ 13 h 43"/>
                  <a:gd name="T26" fmla="*/ 13 w 59"/>
                  <a:gd name="T27" fmla="*/ 16 h 43"/>
                  <a:gd name="T28" fmla="*/ 6 w 59"/>
                  <a:gd name="T29" fmla="*/ 20 h 43"/>
                  <a:gd name="T30" fmla="*/ 0 w 59"/>
                  <a:gd name="T31" fmla="*/ 24 h 43"/>
                  <a:gd name="T32" fmla="*/ 5 w 59"/>
                  <a:gd name="T33" fmla="*/ 29 h 43"/>
                  <a:gd name="T34" fmla="*/ 10 w 59"/>
                  <a:gd name="T35" fmla="*/ 34 h 43"/>
                  <a:gd name="T36" fmla="*/ 18 w 59"/>
                  <a:gd name="T37" fmla="*/ 39 h 43"/>
                  <a:gd name="T38" fmla="*/ 26 w 59"/>
                  <a:gd name="T3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51" name="Freeform 40"/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2 h 51"/>
                  <a:gd name="T2" fmla="*/ 24 w 67"/>
                  <a:gd name="T3" fmla="*/ 1 h 51"/>
                  <a:gd name="T4" fmla="*/ 39 w 67"/>
                  <a:gd name="T5" fmla="*/ 0 h 51"/>
                  <a:gd name="T6" fmla="*/ 45 w 67"/>
                  <a:gd name="T7" fmla="*/ 1 h 51"/>
                  <a:gd name="T8" fmla="*/ 51 w 67"/>
                  <a:gd name="T9" fmla="*/ 2 h 51"/>
                  <a:gd name="T10" fmla="*/ 58 w 67"/>
                  <a:gd name="T11" fmla="*/ 4 h 51"/>
                  <a:gd name="T12" fmla="*/ 67 w 67"/>
                  <a:gd name="T13" fmla="*/ 8 h 51"/>
                  <a:gd name="T14" fmla="*/ 55 w 67"/>
                  <a:gd name="T15" fmla="*/ 13 h 51"/>
                  <a:gd name="T16" fmla="*/ 46 w 67"/>
                  <a:gd name="T17" fmla="*/ 19 h 51"/>
                  <a:gd name="T18" fmla="*/ 42 w 67"/>
                  <a:gd name="T19" fmla="*/ 22 h 51"/>
                  <a:gd name="T20" fmla="*/ 36 w 67"/>
                  <a:gd name="T21" fmla="*/ 24 h 51"/>
                  <a:gd name="T22" fmla="*/ 29 w 67"/>
                  <a:gd name="T23" fmla="*/ 26 h 51"/>
                  <a:gd name="T24" fmla="*/ 20 w 67"/>
                  <a:gd name="T25" fmla="*/ 26 h 51"/>
                  <a:gd name="T26" fmla="*/ 24 w 67"/>
                  <a:gd name="T27" fmla="*/ 26 h 51"/>
                  <a:gd name="T28" fmla="*/ 34 w 67"/>
                  <a:gd name="T29" fmla="*/ 26 h 51"/>
                  <a:gd name="T30" fmla="*/ 29 w 67"/>
                  <a:gd name="T31" fmla="*/ 34 h 51"/>
                  <a:gd name="T32" fmla="*/ 25 w 67"/>
                  <a:gd name="T33" fmla="*/ 40 h 51"/>
                  <a:gd name="T34" fmla="*/ 22 w 67"/>
                  <a:gd name="T35" fmla="*/ 44 h 51"/>
                  <a:gd name="T36" fmla="*/ 20 w 67"/>
                  <a:gd name="T37" fmla="*/ 46 h 51"/>
                  <a:gd name="T38" fmla="*/ 12 w 67"/>
                  <a:gd name="T39" fmla="*/ 48 h 51"/>
                  <a:gd name="T40" fmla="*/ 0 w 67"/>
                  <a:gd name="T41" fmla="*/ 51 h 51"/>
                  <a:gd name="T42" fmla="*/ 0 w 67"/>
                  <a:gd name="T43" fmla="*/ 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</p:grpSp>
        <p:sp>
          <p:nvSpPr>
            <p:cNvPr id="40" name="Freeform 41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2354263" y="3090863"/>
              <a:ext cx="31750" cy="58737"/>
            </a:xfrm>
            <a:custGeom>
              <a:avLst/>
              <a:gdLst>
                <a:gd name="T0" fmla="*/ 0 w 80"/>
                <a:gd name="T1" fmla="*/ 15 h 34"/>
                <a:gd name="T2" fmla="*/ 1 w 80"/>
                <a:gd name="T3" fmla="*/ 19 h 34"/>
                <a:gd name="T4" fmla="*/ 2 w 80"/>
                <a:gd name="T5" fmla="*/ 21 h 34"/>
                <a:gd name="T6" fmla="*/ 4 w 80"/>
                <a:gd name="T7" fmla="*/ 24 h 34"/>
                <a:gd name="T8" fmla="*/ 7 w 80"/>
                <a:gd name="T9" fmla="*/ 26 h 34"/>
                <a:gd name="T10" fmla="*/ 13 w 80"/>
                <a:gd name="T11" fmla="*/ 29 h 34"/>
                <a:gd name="T12" fmla="*/ 22 w 80"/>
                <a:gd name="T13" fmla="*/ 31 h 34"/>
                <a:gd name="T14" fmla="*/ 40 w 80"/>
                <a:gd name="T15" fmla="*/ 33 h 34"/>
                <a:gd name="T16" fmla="*/ 54 w 80"/>
                <a:gd name="T17" fmla="*/ 34 h 34"/>
                <a:gd name="T18" fmla="*/ 58 w 80"/>
                <a:gd name="T19" fmla="*/ 33 h 34"/>
                <a:gd name="T20" fmla="*/ 62 w 80"/>
                <a:gd name="T21" fmla="*/ 32 h 34"/>
                <a:gd name="T22" fmla="*/ 65 w 80"/>
                <a:gd name="T23" fmla="*/ 29 h 34"/>
                <a:gd name="T24" fmla="*/ 67 w 80"/>
                <a:gd name="T25" fmla="*/ 27 h 34"/>
                <a:gd name="T26" fmla="*/ 73 w 80"/>
                <a:gd name="T27" fmla="*/ 21 h 34"/>
                <a:gd name="T28" fmla="*/ 80 w 80"/>
                <a:gd name="T29" fmla="*/ 15 h 34"/>
                <a:gd name="T30" fmla="*/ 75 w 80"/>
                <a:gd name="T31" fmla="*/ 10 h 34"/>
                <a:gd name="T32" fmla="*/ 70 w 80"/>
                <a:gd name="T33" fmla="*/ 7 h 34"/>
                <a:gd name="T34" fmla="*/ 65 w 80"/>
                <a:gd name="T35" fmla="*/ 4 h 34"/>
                <a:gd name="T36" fmla="*/ 60 w 80"/>
                <a:gd name="T37" fmla="*/ 2 h 34"/>
                <a:gd name="T38" fmla="*/ 55 w 80"/>
                <a:gd name="T39" fmla="*/ 0 h 34"/>
                <a:gd name="T40" fmla="*/ 51 w 80"/>
                <a:gd name="T41" fmla="*/ 0 h 34"/>
                <a:gd name="T42" fmla="*/ 45 w 80"/>
                <a:gd name="T43" fmla="*/ 1 h 34"/>
                <a:gd name="T44" fmla="*/ 41 w 80"/>
                <a:gd name="T45" fmla="*/ 2 h 34"/>
                <a:gd name="T46" fmla="*/ 34 w 80"/>
                <a:gd name="T47" fmla="*/ 2 h 34"/>
                <a:gd name="T48" fmla="*/ 21 w 80"/>
                <a:gd name="T49" fmla="*/ 2 h 34"/>
                <a:gd name="T50" fmla="*/ 13 w 80"/>
                <a:gd name="T51" fmla="*/ 3 h 34"/>
                <a:gd name="T52" fmla="*/ 7 w 80"/>
                <a:gd name="T53" fmla="*/ 5 h 34"/>
                <a:gd name="T54" fmla="*/ 4 w 80"/>
                <a:gd name="T55" fmla="*/ 7 h 34"/>
                <a:gd name="T56" fmla="*/ 2 w 80"/>
                <a:gd name="T57" fmla="*/ 9 h 34"/>
                <a:gd name="T58" fmla="*/ 1 w 80"/>
                <a:gd name="T59" fmla="*/ 11 h 34"/>
                <a:gd name="T60" fmla="*/ 0 w 80"/>
                <a:gd name="T61" fmla="*/ 1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1" name="Freeform 42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2409825" y="3097213"/>
              <a:ext cx="1588" cy="58737"/>
            </a:xfrm>
            <a:custGeom>
              <a:avLst/>
              <a:gdLst>
                <a:gd name="T0" fmla="*/ 0 w 7"/>
                <a:gd name="T1" fmla="*/ 0 h 13"/>
                <a:gd name="T2" fmla="*/ 7 w 7"/>
                <a:gd name="T3" fmla="*/ 13 h 13"/>
                <a:gd name="T4" fmla="*/ 7 w 7"/>
                <a:gd name="T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2" name="Freeform 43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2422525" y="3098800"/>
              <a:ext cx="6350" cy="58738"/>
            </a:xfrm>
            <a:custGeom>
              <a:avLst/>
              <a:gdLst>
                <a:gd name="T0" fmla="*/ 0 w 20"/>
                <a:gd name="T1" fmla="*/ 0 h 6"/>
                <a:gd name="T2" fmla="*/ 7 w 20"/>
                <a:gd name="T3" fmla="*/ 3 h 6"/>
                <a:gd name="T4" fmla="*/ 20 w 20"/>
                <a:gd name="T5" fmla="*/ 6 h 6"/>
                <a:gd name="T6" fmla="*/ 0 w 20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3" name="Freeform 44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2436813" y="3089275"/>
              <a:ext cx="7937" cy="57150"/>
            </a:xfrm>
            <a:custGeom>
              <a:avLst/>
              <a:gdLst>
                <a:gd name="T0" fmla="*/ 0 w 14"/>
                <a:gd name="T1" fmla="*/ 12 h 12"/>
                <a:gd name="T2" fmla="*/ 14 w 14"/>
                <a:gd name="T3" fmla="*/ 0 h 12"/>
                <a:gd name="T4" fmla="*/ 0 w 14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4" name="Freeform 45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2416175" y="3081338"/>
              <a:ext cx="11113" cy="58737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4 h 7"/>
                <a:gd name="T4" fmla="*/ 2 w 27"/>
                <a:gd name="T5" fmla="*/ 6 h 7"/>
                <a:gd name="T6" fmla="*/ 7 w 27"/>
                <a:gd name="T7" fmla="*/ 7 h 7"/>
                <a:gd name="T8" fmla="*/ 10 w 27"/>
                <a:gd name="T9" fmla="*/ 7 h 7"/>
                <a:gd name="T10" fmla="*/ 15 w 27"/>
                <a:gd name="T11" fmla="*/ 6 h 7"/>
                <a:gd name="T12" fmla="*/ 19 w 27"/>
                <a:gd name="T13" fmla="*/ 4 h 7"/>
                <a:gd name="T14" fmla="*/ 23 w 27"/>
                <a:gd name="T15" fmla="*/ 2 h 7"/>
                <a:gd name="T16" fmla="*/ 27 w 27"/>
                <a:gd name="T17" fmla="*/ 0 h 7"/>
                <a:gd name="T18" fmla="*/ 0 w 27"/>
                <a:gd name="T1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5" name="Freeform 46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2465388" y="3109913"/>
              <a:ext cx="14287" cy="60325"/>
            </a:xfrm>
            <a:custGeom>
              <a:avLst/>
              <a:gdLst>
                <a:gd name="T0" fmla="*/ 0 w 27"/>
                <a:gd name="T1" fmla="*/ 0 h 6"/>
                <a:gd name="T2" fmla="*/ 11 w 27"/>
                <a:gd name="T3" fmla="*/ 3 h 6"/>
                <a:gd name="T4" fmla="*/ 27 w 27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6" name="Line 47"/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 flipH="1" flipV="1">
              <a:off x="2473325" y="3106738"/>
              <a:ext cx="6350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7" name="Line 48"/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 flipH="1">
              <a:off x="2473325" y="3132138"/>
              <a:ext cx="6350" cy="1111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8" name="Freeform 49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2473325" y="3127375"/>
              <a:ext cx="11113" cy="58738"/>
            </a:xfrm>
            <a:custGeom>
              <a:avLst/>
              <a:gdLst>
                <a:gd name="T0" fmla="*/ 0 w 20"/>
                <a:gd name="T1" fmla="*/ 24 h 24"/>
                <a:gd name="T2" fmla="*/ 2 w 20"/>
                <a:gd name="T3" fmla="*/ 24 h 24"/>
                <a:gd name="T4" fmla="*/ 6 w 20"/>
                <a:gd name="T5" fmla="*/ 22 h 24"/>
                <a:gd name="T6" fmla="*/ 9 w 20"/>
                <a:gd name="T7" fmla="*/ 20 h 24"/>
                <a:gd name="T8" fmla="*/ 12 w 20"/>
                <a:gd name="T9" fmla="*/ 16 h 24"/>
                <a:gd name="T10" fmla="*/ 15 w 20"/>
                <a:gd name="T11" fmla="*/ 13 h 24"/>
                <a:gd name="T12" fmla="*/ 18 w 20"/>
                <a:gd name="T13" fmla="*/ 9 h 24"/>
                <a:gd name="T14" fmla="*/ 19 w 20"/>
                <a:gd name="T15" fmla="*/ 4 h 24"/>
                <a:gd name="T16" fmla="*/ 20 w 20"/>
                <a:gd name="T1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9" name="Freeform 50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2479675" y="3155950"/>
              <a:ext cx="17463" cy="55563"/>
            </a:xfrm>
            <a:custGeom>
              <a:avLst/>
              <a:gdLst>
                <a:gd name="T0" fmla="*/ 13 w 33"/>
                <a:gd name="T1" fmla="*/ 7 h 25"/>
                <a:gd name="T2" fmla="*/ 0 w 33"/>
                <a:gd name="T3" fmla="*/ 19 h 25"/>
                <a:gd name="T4" fmla="*/ 10 w 33"/>
                <a:gd name="T5" fmla="*/ 20 h 25"/>
                <a:gd name="T6" fmla="*/ 19 w 33"/>
                <a:gd name="T7" fmla="*/ 22 h 25"/>
                <a:gd name="T8" fmla="*/ 27 w 33"/>
                <a:gd name="T9" fmla="*/ 25 h 25"/>
                <a:gd name="T10" fmla="*/ 33 w 33"/>
                <a:gd name="T11" fmla="*/ 25 h 25"/>
                <a:gd name="T12" fmla="*/ 33 w 33"/>
                <a:gd name="T13" fmla="*/ 0 h 25"/>
                <a:gd name="T14" fmla="*/ 27 w 33"/>
                <a:gd name="T15" fmla="*/ 0 h 25"/>
                <a:gd name="T16" fmla="*/ 13 w 33"/>
                <a:gd name="T17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0" name="Freeform 51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2486025" y="3203575"/>
              <a:ext cx="15875" cy="57150"/>
            </a:xfrm>
            <a:custGeom>
              <a:avLst/>
              <a:gdLst>
                <a:gd name="T0" fmla="*/ 0 w 40"/>
                <a:gd name="T1" fmla="*/ 0 h 18"/>
                <a:gd name="T2" fmla="*/ 3 w 40"/>
                <a:gd name="T3" fmla="*/ 6 h 18"/>
                <a:gd name="T4" fmla="*/ 6 w 40"/>
                <a:gd name="T5" fmla="*/ 11 h 18"/>
                <a:gd name="T6" fmla="*/ 10 w 40"/>
                <a:gd name="T7" fmla="*/ 14 h 18"/>
                <a:gd name="T8" fmla="*/ 15 w 40"/>
                <a:gd name="T9" fmla="*/ 16 h 18"/>
                <a:gd name="T10" fmla="*/ 27 w 40"/>
                <a:gd name="T11" fmla="*/ 18 h 18"/>
                <a:gd name="T12" fmla="*/ 40 w 40"/>
                <a:gd name="T13" fmla="*/ 18 h 18"/>
                <a:gd name="T14" fmla="*/ 40 w 40"/>
                <a:gd name="T15" fmla="*/ 0 h 18"/>
                <a:gd name="T16" fmla="*/ 30 w 40"/>
                <a:gd name="T17" fmla="*/ 0 h 18"/>
                <a:gd name="T18" fmla="*/ 20 w 40"/>
                <a:gd name="T19" fmla="*/ 0 h 18"/>
                <a:gd name="T20" fmla="*/ 10 w 40"/>
                <a:gd name="T21" fmla="*/ 0 h 18"/>
                <a:gd name="T22" fmla="*/ 0 w 40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1" name="Freeform 52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2495550" y="3228975"/>
              <a:ext cx="3175" cy="57150"/>
            </a:xfrm>
            <a:custGeom>
              <a:avLst/>
              <a:gdLst>
                <a:gd name="T0" fmla="*/ 4 w 11"/>
                <a:gd name="T1" fmla="*/ 32 h 32"/>
                <a:gd name="T2" fmla="*/ 6 w 11"/>
                <a:gd name="T3" fmla="*/ 28 h 32"/>
                <a:gd name="T4" fmla="*/ 8 w 11"/>
                <a:gd name="T5" fmla="*/ 25 h 32"/>
                <a:gd name="T6" fmla="*/ 9 w 11"/>
                <a:gd name="T7" fmla="*/ 22 h 32"/>
                <a:gd name="T8" fmla="*/ 10 w 11"/>
                <a:gd name="T9" fmla="*/ 18 h 32"/>
                <a:gd name="T10" fmla="*/ 11 w 11"/>
                <a:gd name="T11" fmla="*/ 9 h 32"/>
                <a:gd name="T12" fmla="*/ 11 w 11"/>
                <a:gd name="T13" fmla="*/ 0 h 32"/>
                <a:gd name="T14" fmla="*/ 6 w 11"/>
                <a:gd name="T15" fmla="*/ 3 h 32"/>
                <a:gd name="T16" fmla="*/ 3 w 11"/>
                <a:gd name="T17" fmla="*/ 7 h 32"/>
                <a:gd name="T18" fmla="*/ 1 w 11"/>
                <a:gd name="T19" fmla="*/ 11 h 32"/>
                <a:gd name="T20" fmla="*/ 0 w 11"/>
                <a:gd name="T21" fmla="*/ 16 h 32"/>
                <a:gd name="T22" fmla="*/ 0 w 11"/>
                <a:gd name="T23" fmla="*/ 20 h 32"/>
                <a:gd name="T24" fmla="*/ 1 w 11"/>
                <a:gd name="T25" fmla="*/ 24 h 32"/>
                <a:gd name="T26" fmla="*/ 2 w 11"/>
                <a:gd name="T27" fmla="*/ 28 h 32"/>
                <a:gd name="T28" fmla="*/ 4 w 11"/>
                <a:gd name="T2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2" name="Freeform 53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2517775" y="3259138"/>
              <a:ext cx="1588" cy="55562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24 h 24"/>
                <a:gd name="T4" fmla="*/ 14 w 14"/>
                <a:gd name="T5" fmla="*/ 12 h 24"/>
                <a:gd name="T6" fmla="*/ 0 w 14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3" name="Freeform 54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2479675" y="3271838"/>
              <a:ext cx="15875" cy="58737"/>
            </a:xfrm>
            <a:custGeom>
              <a:avLst/>
              <a:gdLst>
                <a:gd name="T0" fmla="*/ 0 w 27"/>
                <a:gd name="T1" fmla="*/ 12 h 18"/>
                <a:gd name="T2" fmla="*/ 7 w 27"/>
                <a:gd name="T3" fmla="*/ 15 h 18"/>
                <a:gd name="T4" fmla="*/ 13 w 27"/>
                <a:gd name="T5" fmla="*/ 18 h 18"/>
                <a:gd name="T6" fmla="*/ 22 w 27"/>
                <a:gd name="T7" fmla="*/ 7 h 18"/>
                <a:gd name="T8" fmla="*/ 27 w 27"/>
                <a:gd name="T9" fmla="*/ 0 h 18"/>
                <a:gd name="T10" fmla="*/ 22 w 27"/>
                <a:gd name="T11" fmla="*/ 0 h 18"/>
                <a:gd name="T12" fmla="*/ 18 w 27"/>
                <a:gd name="T13" fmla="*/ 1 h 18"/>
                <a:gd name="T14" fmla="*/ 13 w 27"/>
                <a:gd name="T15" fmla="*/ 2 h 18"/>
                <a:gd name="T16" fmla="*/ 10 w 27"/>
                <a:gd name="T17" fmla="*/ 4 h 18"/>
                <a:gd name="T18" fmla="*/ 5 w 27"/>
                <a:gd name="T19" fmla="*/ 8 h 18"/>
                <a:gd name="T20" fmla="*/ 0 w 27"/>
                <a:gd name="T21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4" name="Freeform 55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2465388" y="3336925"/>
              <a:ext cx="23812" cy="57150"/>
            </a:xfrm>
            <a:custGeom>
              <a:avLst/>
              <a:gdLst>
                <a:gd name="T0" fmla="*/ 0 w 47"/>
                <a:gd name="T1" fmla="*/ 36 h 49"/>
                <a:gd name="T2" fmla="*/ 1 w 47"/>
                <a:gd name="T3" fmla="*/ 39 h 49"/>
                <a:gd name="T4" fmla="*/ 2 w 47"/>
                <a:gd name="T5" fmla="*/ 41 h 49"/>
                <a:gd name="T6" fmla="*/ 4 w 47"/>
                <a:gd name="T7" fmla="*/ 43 h 49"/>
                <a:gd name="T8" fmla="*/ 6 w 47"/>
                <a:gd name="T9" fmla="*/ 45 h 49"/>
                <a:gd name="T10" fmla="*/ 12 w 47"/>
                <a:gd name="T11" fmla="*/ 48 h 49"/>
                <a:gd name="T12" fmla="*/ 14 w 47"/>
                <a:gd name="T13" fmla="*/ 49 h 49"/>
                <a:gd name="T14" fmla="*/ 18 w 47"/>
                <a:gd name="T15" fmla="*/ 49 h 49"/>
                <a:gd name="T16" fmla="*/ 24 w 47"/>
                <a:gd name="T17" fmla="*/ 46 h 49"/>
                <a:gd name="T18" fmla="*/ 29 w 47"/>
                <a:gd name="T19" fmla="*/ 42 h 49"/>
                <a:gd name="T20" fmla="*/ 35 w 47"/>
                <a:gd name="T21" fmla="*/ 39 h 49"/>
                <a:gd name="T22" fmla="*/ 39 w 47"/>
                <a:gd name="T23" fmla="*/ 35 h 49"/>
                <a:gd name="T24" fmla="*/ 44 w 47"/>
                <a:gd name="T25" fmla="*/ 31 h 49"/>
                <a:gd name="T26" fmla="*/ 46 w 47"/>
                <a:gd name="T27" fmla="*/ 27 h 49"/>
                <a:gd name="T28" fmla="*/ 47 w 47"/>
                <a:gd name="T29" fmla="*/ 24 h 49"/>
                <a:gd name="T30" fmla="*/ 47 w 47"/>
                <a:gd name="T31" fmla="*/ 12 h 49"/>
                <a:gd name="T32" fmla="*/ 47 w 47"/>
                <a:gd name="T33" fmla="*/ 0 h 49"/>
                <a:gd name="T34" fmla="*/ 27 w 47"/>
                <a:gd name="T35" fmla="*/ 0 h 49"/>
                <a:gd name="T36" fmla="*/ 17 w 47"/>
                <a:gd name="T37" fmla="*/ 8 h 49"/>
                <a:gd name="T38" fmla="*/ 9 w 47"/>
                <a:gd name="T39" fmla="*/ 16 h 49"/>
                <a:gd name="T40" fmla="*/ 5 w 47"/>
                <a:gd name="T41" fmla="*/ 20 h 49"/>
                <a:gd name="T42" fmla="*/ 2 w 47"/>
                <a:gd name="T43" fmla="*/ 25 h 49"/>
                <a:gd name="T44" fmla="*/ 1 w 47"/>
                <a:gd name="T45" fmla="*/ 30 h 49"/>
                <a:gd name="T46" fmla="*/ 0 w 47"/>
                <a:gd name="T47" fmla="*/ 3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5" name="Freeform 56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2484438" y="3313113"/>
              <a:ext cx="12700" cy="57150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4 h 9"/>
                <a:gd name="T4" fmla="*/ 3 w 26"/>
                <a:gd name="T5" fmla="*/ 7 h 9"/>
                <a:gd name="T6" fmla="*/ 6 w 26"/>
                <a:gd name="T7" fmla="*/ 8 h 9"/>
                <a:gd name="T8" fmla="*/ 11 w 26"/>
                <a:gd name="T9" fmla="*/ 9 h 9"/>
                <a:gd name="T10" fmla="*/ 15 w 26"/>
                <a:gd name="T11" fmla="*/ 8 h 9"/>
                <a:gd name="T12" fmla="*/ 20 w 26"/>
                <a:gd name="T13" fmla="*/ 7 h 9"/>
                <a:gd name="T14" fmla="*/ 23 w 26"/>
                <a:gd name="T15" fmla="*/ 4 h 9"/>
                <a:gd name="T16" fmla="*/ 26 w 26"/>
                <a:gd name="T17" fmla="*/ 0 h 9"/>
                <a:gd name="T18" fmla="*/ 0 w 26"/>
                <a:gd name="T1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6" name="Freeform 57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1966913" y="2984500"/>
              <a:ext cx="15875" cy="57150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18 h 18"/>
                <a:gd name="T4" fmla="*/ 6 w 39"/>
                <a:gd name="T5" fmla="*/ 18 h 18"/>
                <a:gd name="T6" fmla="*/ 13 w 39"/>
                <a:gd name="T7" fmla="*/ 18 h 18"/>
                <a:gd name="T8" fmla="*/ 23 w 39"/>
                <a:gd name="T9" fmla="*/ 17 h 18"/>
                <a:gd name="T10" fmla="*/ 30 w 39"/>
                <a:gd name="T11" fmla="*/ 14 h 18"/>
                <a:gd name="T12" fmla="*/ 34 w 39"/>
                <a:gd name="T13" fmla="*/ 12 h 18"/>
                <a:gd name="T14" fmla="*/ 37 w 39"/>
                <a:gd name="T15" fmla="*/ 10 h 18"/>
                <a:gd name="T16" fmla="*/ 38 w 39"/>
                <a:gd name="T17" fmla="*/ 8 h 18"/>
                <a:gd name="T18" fmla="*/ 39 w 39"/>
                <a:gd name="T19" fmla="*/ 6 h 18"/>
                <a:gd name="T20" fmla="*/ 29 w 39"/>
                <a:gd name="T21" fmla="*/ 5 h 18"/>
                <a:gd name="T22" fmla="*/ 19 w 39"/>
                <a:gd name="T23" fmla="*/ 3 h 18"/>
                <a:gd name="T24" fmla="*/ 10 w 39"/>
                <a:gd name="T25" fmla="*/ 0 h 18"/>
                <a:gd name="T26" fmla="*/ 0 w 39"/>
                <a:gd name="T2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grpSp>
          <p:nvGrpSpPr>
            <p:cNvPr id="57" name="Group 58"/>
            <p:cNvGrpSpPr>
              <a:grpSpLocks/>
            </p:cNvGrpSpPr>
            <p:nvPr>
              <p:custDataLst>
                <p:tags r:id="rId51"/>
              </p:custDataLst>
            </p:nvPr>
          </p:nvGrpSpPr>
          <p:grpSpPr bwMode="auto">
            <a:xfrm>
              <a:off x="2092325" y="2817813"/>
              <a:ext cx="131763" cy="195262"/>
              <a:chOff x="1199" y="2121"/>
              <a:chExt cx="97" cy="123"/>
            </a:xfrm>
          </p:grpSpPr>
          <p:sp>
            <p:nvSpPr>
              <p:cNvPr id="540" name="Freeform 59"/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25 h 25"/>
                  <a:gd name="T2" fmla="*/ 7 w 52"/>
                  <a:gd name="T3" fmla="*/ 25 h 25"/>
                  <a:gd name="T4" fmla="*/ 15 w 52"/>
                  <a:gd name="T5" fmla="*/ 24 h 25"/>
                  <a:gd name="T6" fmla="*/ 23 w 52"/>
                  <a:gd name="T7" fmla="*/ 22 h 25"/>
                  <a:gd name="T8" fmla="*/ 30 w 52"/>
                  <a:gd name="T9" fmla="*/ 19 h 25"/>
                  <a:gd name="T10" fmla="*/ 38 w 52"/>
                  <a:gd name="T11" fmla="*/ 15 h 25"/>
                  <a:gd name="T12" fmla="*/ 43 w 52"/>
                  <a:gd name="T13" fmla="*/ 11 h 25"/>
                  <a:gd name="T14" fmla="*/ 49 w 52"/>
                  <a:gd name="T15" fmla="*/ 6 h 25"/>
                  <a:gd name="T16" fmla="*/ 52 w 52"/>
                  <a:gd name="T17" fmla="*/ 0 h 25"/>
                  <a:gd name="T18" fmla="*/ 40 w 52"/>
                  <a:gd name="T19" fmla="*/ 0 h 25"/>
                  <a:gd name="T20" fmla="*/ 31 w 52"/>
                  <a:gd name="T21" fmla="*/ 0 h 25"/>
                  <a:gd name="T22" fmla="*/ 23 w 52"/>
                  <a:gd name="T23" fmla="*/ 1 h 25"/>
                  <a:gd name="T24" fmla="*/ 16 w 52"/>
                  <a:gd name="T25" fmla="*/ 3 h 25"/>
                  <a:gd name="T26" fmla="*/ 11 w 52"/>
                  <a:gd name="T27" fmla="*/ 6 h 25"/>
                  <a:gd name="T28" fmla="*/ 5 w 52"/>
                  <a:gd name="T29" fmla="*/ 10 h 25"/>
                  <a:gd name="T30" fmla="*/ 2 w 52"/>
                  <a:gd name="T31" fmla="*/ 16 h 25"/>
                  <a:gd name="T32" fmla="*/ 0 w 52"/>
                  <a:gd name="T33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41" name="Freeform 60"/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6 h 13"/>
                  <a:gd name="T4" fmla="*/ 0 w 33"/>
                  <a:gd name="T5" fmla="*/ 13 h 13"/>
                  <a:gd name="T6" fmla="*/ 9 w 33"/>
                  <a:gd name="T7" fmla="*/ 13 h 13"/>
                  <a:gd name="T8" fmla="*/ 16 w 33"/>
                  <a:gd name="T9" fmla="*/ 13 h 13"/>
                  <a:gd name="T10" fmla="*/ 24 w 33"/>
                  <a:gd name="T11" fmla="*/ 11 h 13"/>
                  <a:gd name="T12" fmla="*/ 33 w 33"/>
                  <a:gd name="T13" fmla="*/ 6 h 13"/>
                  <a:gd name="T14" fmla="*/ 24 w 33"/>
                  <a:gd name="T15" fmla="*/ 3 h 13"/>
                  <a:gd name="T16" fmla="*/ 16 w 33"/>
                  <a:gd name="T17" fmla="*/ 1 h 13"/>
                  <a:gd name="T18" fmla="*/ 9 w 33"/>
                  <a:gd name="T19" fmla="*/ 0 h 13"/>
                  <a:gd name="T20" fmla="*/ 0 w 33"/>
                  <a:gd name="T21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42" name="Freeform 61"/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26 w 67"/>
                  <a:gd name="T1" fmla="*/ 18 h 86"/>
                  <a:gd name="T2" fmla="*/ 0 w 67"/>
                  <a:gd name="T3" fmla="*/ 0 h 86"/>
                  <a:gd name="T4" fmla="*/ 26 w 67"/>
                  <a:gd name="T5" fmla="*/ 0 h 86"/>
                  <a:gd name="T6" fmla="*/ 29 w 67"/>
                  <a:gd name="T7" fmla="*/ 4 h 86"/>
                  <a:gd name="T8" fmla="*/ 33 w 67"/>
                  <a:gd name="T9" fmla="*/ 8 h 86"/>
                  <a:gd name="T10" fmla="*/ 36 w 67"/>
                  <a:gd name="T11" fmla="*/ 11 h 86"/>
                  <a:gd name="T12" fmla="*/ 39 w 67"/>
                  <a:gd name="T13" fmla="*/ 14 h 86"/>
                  <a:gd name="T14" fmla="*/ 47 w 67"/>
                  <a:gd name="T15" fmla="*/ 17 h 86"/>
                  <a:gd name="T16" fmla="*/ 54 w 67"/>
                  <a:gd name="T17" fmla="*/ 18 h 86"/>
                  <a:gd name="T18" fmla="*/ 58 w 67"/>
                  <a:gd name="T19" fmla="*/ 30 h 86"/>
                  <a:gd name="T20" fmla="*/ 62 w 67"/>
                  <a:gd name="T21" fmla="*/ 40 h 86"/>
                  <a:gd name="T22" fmla="*/ 63 w 67"/>
                  <a:gd name="T23" fmla="*/ 45 h 86"/>
                  <a:gd name="T24" fmla="*/ 66 w 67"/>
                  <a:gd name="T25" fmla="*/ 50 h 86"/>
                  <a:gd name="T26" fmla="*/ 66 w 67"/>
                  <a:gd name="T27" fmla="*/ 55 h 86"/>
                  <a:gd name="T28" fmla="*/ 67 w 67"/>
                  <a:gd name="T29" fmla="*/ 61 h 86"/>
                  <a:gd name="T30" fmla="*/ 63 w 67"/>
                  <a:gd name="T31" fmla="*/ 74 h 86"/>
                  <a:gd name="T32" fmla="*/ 60 w 67"/>
                  <a:gd name="T33" fmla="*/ 86 h 86"/>
                  <a:gd name="T34" fmla="*/ 55 w 67"/>
                  <a:gd name="T35" fmla="*/ 69 h 86"/>
                  <a:gd name="T36" fmla="*/ 51 w 67"/>
                  <a:gd name="T37" fmla="*/ 54 h 86"/>
                  <a:gd name="T38" fmla="*/ 50 w 67"/>
                  <a:gd name="T39" fmla="*/ 47 h 86"/>
                  <a:gd name="T40" fmla="*/ 50 w 67"/>
                  <a:gd name="T41" fmla="*/ 41 h 86"/>
                  <a:gd name="T42" fmla="*/ 51 w 67"/>
                  <a:gd name="T43" fmla="*/ 35 h 86"/>
                  <a:gd name="T44" fmla="*/ 54 w 67"/>
                  <a:gd name="T45" fmla="*/ 30 h 86"/>
                  <a:gd name="T46" fmla="*/ 44 w 67"/>
                  <a:gd name="T47" fmla="*/ 30 h 86"/>
                  <a:gd name="T48" fmla="*/ 35 w 67"/>
                  <a:gd name="T49" fmla="*/ 29 h 86"/>
                  <a:gd name="T50" fmla="*/ 32 w 67"/>
                  <a:gd name="T51" fmla="*/ 27 h 86"/>
                  <a:gd name="T52" fmla="*/ 28 w 67"/>
                  <a:gd name="T53" fmla="*/ 25 h 86"/>
                  <a:gd name="T54" fmla="*/ 27 w 67"/>
                  <a:gd name="T55" fmla="*/ 22 h 86"/>
                  <a:gd name="T56" fmla="*/ 26 w 67"/>
                  <a:gd name="T57" fmla="*/ 18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43" name="Freeform 62"/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27 w 49"/>
                  <a:gd name="T1" fmla="*/ 12 h 86"/>
                  <a:gd name="T2" fmla="*/ 20 w 49"/>
                  <a:gd name="T3" fmla="*/ 6 h 86"/>
                  <a:gd name="T4" fmla="*/ 14 w 49"/>
                  <a:gd name="T5" fmla="*/ 0 h 86"/>
                  <a:gd name="T6" fmla="*/ 9 w 49"/>
                  <a:gd name="T7" fmla="*/ 5 h 86"/>
                  <a:gd name="T8" fmla="*/ 5 w 49"/>
                  <a:gd name="T9" fmla="*/ 13 h 86"/>
                  <a:gd name="T10" fmla="*/ 1 w 49"/>
                  <a:gd name="T11" fmla="*/ 21 h 86"/>
                  <a:gd name="T12" fmla="*/ 0 w 49"/>
                  <a:gd name="T13" fmla="*/ 30 h 86"/>
                  <a:gd name="T14" fmla="*/ 0 w 49"/>
                  <a:gd name="T15" fmla="*/ 36 h 86"/>
                  <a:gd name="T16" fmla="*/ 3 w 49"/>
                  <a:gd name="T17" fmla="*/ 43 h 86"/>
                  <a:gd name="T18" fmla="*/ 5 w 49"/>
                  <a:gd name="T19" fmla="*/ 50 h 86"/>
                  <a:gd name="T20" fmla="*/ 8 w 49"/>
                  <a:gd name="T21" fmla="*/ 58 h 86"/>
                  <a:gd name="T22" fmla="*/ 12 w 49"/>
                  <a:gd name="T23" fmla="*/ 66 h 86"/>
                  <a:gd name="T24" fmla="*/ 17 w 49"/>
                  <a:gd name="T25" fmla="*/ 74 h 86"/>
                  <a:gd name="T26" fmla="*/ 22 w 49"/>
                  <a:gd name="T27" fmla="*/ 80 h 86"/>
                  <a:gd name="T28" fmla="*/ 27 w 49"/>
                  <a:gd name="T29" fmla="*/ 86 h 86"/>
                  <a:gd name="T30" fmla="*/ 31 w 49"/>
                  <a:gd name="T31" fmla="*/ 79 h 86"/>
                  <a:gd name="T32" fmla="*/ 37 w 49"/>
                  <a:gd name="T33" fmla="*/ 69 h 86"/>
                  <a:gd name="T34" fmla="*/ 42 w 49"/>
                  <a:gd name="T35" fmla="*/ 57 h 86"/>
                  <a:gd name="T36" fmla="*/ 46 w 49"/>
                  <a:gd name="T37" fmla="*/ 45 h 86"/>
                  <a:gd name="T38" fmla="*/ 49 w 49"/>
                  <a:gd name="T39" fmla="*/ 39 h 86"/>
                  <a:gd name="T40" fmla="*/ 49 w 49"/>
                  <a:gd name="T41" fmla="*/ 33 h 86"/>
                  <a:gd name="T42" fmla="*/ 49 w 49"/>
                  <a:gd name="T43" fmla="*/ 26 h 86"/>
                  <a:gd name="T44" fmla="*/ 48 w 49"/>
                  <a:gd name="T45" fmla="*/ 22 h 86"/>
                  <a:gd name="T46" fmla="*/ 44 w 49"/>
                  <a:gd name="T47" fmla="*/ 18 h 86"/>
                  <a:gd name="T48" fmla="*/ 40 w 49"/>
                  <a:gd name="T49" fmla="*/ 15 h 86"/>
                  <a:gd name="T50" fmla="*/ 34 w 49"/>
                  <a:gd name="T51" fmla="*/ 13 h 86"/>
                  <a:gd name="T52" fmla="*/ 27 w 49"/>
                  <a:gd name="T53" fmla="*/ 1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44" name="Freeform 63"/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12 h 12"/>
                  <a:gd name="T2" fmla="*/ 6 w 6"/>
                  <a:gd name="T3" fmla="*/ 0 h 12"/>
                  <a:gd name="T4" fmla="*/ 4 w 6"/>
                  <a:gd name="T5" fmla="*/ 0 h 12"/>
                  <a:gd name="T6" fmla="*/ 2 w 6"/>
                  <a:gd name="T7" fmla="*/ 2 h 12"/>
                  <a:gd name="T8" fmla="*/ 1 w 6"/>
                  <a:gd name="T9" fmla="*/ 4 h 12"/>
                  <a:gd name="T10" fmla="*/ 0 w 6"/>
                  <a:gd name="T11" fmla="*/ 6 h 12"/>
                  <a:gd name="T12" fmla="*/ 0 w 6"/>
                  <a:gd name="T13" fmla="*/ 10 h 12"/>
                  <a:gd name="T14" fmla="*/ 0 w 6"/>
                  <a:gd name="T1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45" name="Freeform 64"/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11 w 39"/>
                  <a:gd name="T3" fmla="*/ 9 h 48"/>
                  <a:gd name="T4" fmla="*/ 22 w 39"/>
                  <a:gd name="T5" fmla="*/ 17 h 48"/>
                  <a:gd name="T6" fmla="*/ 32 w 39"/>
                  <a:gd name="T7" fmla="*/ 24 h 48"/>
                  <a:gd name="T8" fmla="*/ 39 w 39"/>
                  <a:gd name="T9" fmla="*/ 30 h 48"/>
                  <a:gd name="T10" fmla="*/ 36 w 39"/>
                  <a:gd name="T11" fmla="*/ 39 h 48"/>
                  <a:gd name="T12" fmla="*/ 33 w 39"/>
                  <a:gd name="T13" fmla="*/ 48 h 48"/>
                  <a:gd name="T14" fmla="*/ 18 w 39"/>
                  <a:gd name="T15" fmla="*/ 36 h 48"/>
                  <a:gd name="T16" fmla="*/ 8 w 39"/>
                  <a:gd name="T17" fmla="*/ 26 h 48"/>
                  <a:gd name="T18" fmla="*/ 4 w 39"/>
                  <a:gd name="T19" fmla="*/ 21 h 48"/>
                  <a:gd name="T20" fmla="*/ 2 w 39"/>
                  <a:gd name="T21" fmla="*/ 15 h 48"/>
                  <a:gd name="T22" fmla="*/ 0 w 39"/>
                  <a:gd name="T23" fmla="*/ 8 h 48"/>
                  <a:gd name="T24" fmla="*/ 0 w 39"/>
                  <a:gd name="T25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46" name="Freeform 65"/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7 w 16"/>
                  <a:gd name="T1" fmla="*/ 0 h 43"/>
                  <a:gd name="T2" fmla="*/ 11 w 16"/>
                  <a:gd name="T3" fmla="*/ 9 h 43"/>
                  <a:gd name="T4" fmla="*/ 15 w 16"/>
                  <a:gd name="T5" fmla="*/ 16 h 43"/>
                  <a:gd name="T6" fmla="*/ 16 w 16"/>
                  <a:gd name="T7" fmla="*/ 22 h 43"/>
                  <a:gd name="T8" fmla="*/ 16 w 16"/>
                  <a:gd name="T9" fmla="*/ 27 h 43"/>
                  <a:gd name="T10" fmla="*/ 15 w 16"/>
                  <a:gd name="T11" fmla="*/ 31 h 43"/>
                  <a:gd name="T12" fmla="*/ 11 w 16"/>
                  <a:gd name="T13" fmla="*/ 35 h 43"/>
                  <a:gd name="T14" fmla="*/ 7 w 16"/>
                  <a:gd name="T15" fmla="*/ 39 h 43"/>
                  <a:gd name="T16" fmla="*/ 0 w 16"/>
                  <a:gd name="T17" fmla="*/ 43 h 43"/>
                  <a:gd name="T18" fmla="*/ 2 w 16"/>
                  <a:gd name="T19" fmla="*/ 28 h 43"/>
                  <a:gd name="T20" fmla="*/ 4 w 16"/>
                  <a:gd name="T21" fmla="*/ 18 h 43"/>
                  <a:gd name="T22" fmla="*/ 6 w 16"/>
                  <a:gd name="T23" fmla="*/ 9 h 43"/>
                  <a:gd name="T24" fmla="*/ 7 w 16"/>
                  <a:gd name="T25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47" name="Freeform 66"/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24 w 24"/>
                  <a:gd name="T1" fmla="*/ 36 h 37"/>
                  <a:gd name="T2" fmla="*/ 19 w 24"/>
                  <a:gd name="T3" fmla="*/ 27 h 37"/>
                  <a:gd name="T4" fmla="*/ 15 w 24"/>
                  <a:gd name="T5" fmla="*/ 18 h 37"/>
                  <a:gd name="T6" fmla="*/ 12 w 24"/>
                  <a:gd name="T7" fmla="*/ 9 h 37"/>
                  <a:gd name="T8" fmla="*/ 11 w 24"/>
                  <a:gd name="T9" fmla="*/ 0 h 37"/>
                  <a:gd name="T10" fmla="*/ 6 w 24"/>
                  <a:gd name="T11" fmla="*/ 10 h 37"/>
                  <a:gd name="T12" fmla="*/ 3 w 24"/>
                  <a:gd name="T13" fmla="*/ 19 h 37"/>
                  <a:gd name="T14" fmla="*/ 1 w 24"/>
                  <a:gd name="T15" fmla="*/ 26 h 37"/>
                  <a:gd name="T16" fmla="*/ 0 w 24"/>
                  <a:gd name="T17" fmla="*/ 31 h 37"/>
                  <a:gd name="T18" fmla="*/ 1 w 24"/>
                  <a:gd name="T19" fmla="*/ 33 h 37"/>
                  <a:gd name="T20" fmla="*/ 2 w 24"/>
                  <a:gd name="T21" fmla="*/ 35 h 37"/>
                  <a:gd name="T22" fmla="*/ 4 w 24"/>
                  <a:gd name="T23" fmla="*/ 36 h 37"/>
                  <a:gd name="T24" fmla="*/ 6 w 24"/>
                  <a:gd name="T25" fmla="*/ 37 h 37"/>
                  <a:gd name="T26" fmla="*/ 14 w 24"/>
                  <a:gd name="T27" fmla="*/ 37 h 37"/>
                  <a:gd name="T28" fmla="*/ 24 w 24"/>
                  <a:gd name="T29" fmla="*/ 3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48" name="Freeform 67"/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34 w 34"/>
                  <a:gd name="T1" fmla="*/ 0 h 55"/>
                  <a:gd name="T2" fmla="*/ 34 w 34"/>
                  <a:gd name="T3" fmla="*/ 13 h 55"/>
                  <a:gd name="T4" fmla="*/ 34 w 34"/>
                  <a:gd name="T5" fmla="*/ 25 h 55"/>
                  <a:gd name="T6" fmla="*/ 33 w 34"/>
                  <a:gd name="T7" fmla="*/ 32 h 55"/>
                  <a:gd name="T8" fmla="*/ 31 w 34"/>
                  <a:gd name="T9" fmla="*/ 38 h 55"/>
                  <a:gd name="T10" fmla="*/ 29 w 34"/>
                  <a:gd name="T11" fmla="*/ 43 h 55"/>
                  <a:gd name="T12" fmla="*/ 24 w 34"/>
                  <a:gd name="T13" fmla="*/ 47 h 55"/>
                  <a:gd name="T14" fmla="*/ 20 w 34"/>
                  <a:gd name="T15" fmla="*/ 51 h 55"/>
                  <a:gd name="T16" fmla="*/ 14 w 34"/>
                  <a:gd name="T17" fmla="*/ 53 h 55"/>
                  <a:gd name="T18" fmla="*/ 8 w 34"/>
                  <a:gd name="T19" fmla="*/ 55 h 55"/>
                  <a:gd name="T20" fmla="*/ 0 w 34"/>
                  <a:gd name="T21" fmla="*/ 55 h 55"/>
                  <a:gd name="T22" fmla="*/ 9 w 34"/>
                  <a:gd name="T23" fmla="*/ 36 h 55"/>
                  <a:gd name="T24" fmla="*/ 14 w 34"/>
                  <a:gd name="T25" fmla="*/ 21 h 55"/>
                  <a:gd name="T26" fmla="*/ 18 w 34"/>
                  <a:gd name="T27" fmla="*/ 16 h 55"/>
                  <a:gd name="T28" fmla="*/ 22 w 34"/>
                  <a:gd name="T29" fmla="*/ 10 h 55"/>
                  <a:gd name="T30" fmla="*/ 28 w 34"/>
                  <a:gd name="T31" fmla="*/ 5 h 55"/>
                  <a:gd name="T32" fmla="*/ 34 w 34"/>
                  <a:gd name="T33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49" name="Freeform 68"/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2 w 33"/>
                  <a:gd name="T3" fmla="*/ 4 h 12"/>
                  <a:gd name="T4" fmla="*/ 6 w 33"/>
                  <a:gd name="T5" fmla="*/ 7 h 12"/>
                  <a:gd name="T6" fmla="*/ 10 w 33"/>
                  <a:gd name="T7" fmla="*/ 9 h 12"/>
                  <a:gd name="T8" fmla="*/ 14 w 33"/>
                  <a:gd name="T9" fmla="*/ 11 h 12"/>
                  <a:gd name="T10" fmla="*/ 23 w 33"/>
                  <a:gd name="T11" fmla="*/ 12 h 12"/>
                  <a:gd name="T12" fmla="*/ 33 w 33"/>
                  <a:gd name="T13" fmla="*/ 12 h 12"/>
                  <a:gd name="T14" fmla="*/ 28 w 33"/>
                  <a:gd name="T15" fmla="*/ 8 h 12"/>
                  <a:gd name="T16" fmla="*/ 19 w 33"/>
                  <a:gd name="T17" fmla="*/ 4 h 12"/>
                  <a:gd name="T18" fmla="*/ 10 w 33"/>
                  <a:gd name="T19" fmla="*/ 1 h 12"/>
                  <a:gd name="T20" fmla="*/ 0 w 33"/>
                  <a:gd name="T2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</p:grpSp>
        <p:sp>
          <p:nvSpPr>
            <p:cNvPr id="58" name="Freeform 69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7905750" y="4244975"/>
              <a:ext cx="12700" cy="57150"/>
            </a:xfrm>
            <a:custGeom>
              <a:avLst/>
              <a:gdLst>
                <a:gd name="T0" fmla="*/ 0 w 33"/>
                <a:gd name="T1" fmla="*/ 62 h 62"/>
                <a:gd name="T2" fmla="*/ 0 w 33"/>
                <a:gd name="T3" fmla="*/ 53 h 62"/>
                <a:gd name="T4" fmla="*/ 0 w 33"/>
                <a:gd name="T5" fmla="*/ 45 h 62"/>
                <a:gd name="T6" fmla="*/ 0 w 33"/>
                <a:gd name="T7" fmla="*/ 37 h 62"/>
                <a:gd name="T8" fmla="*/ 0 w 33"/>
                <a:gd name="T9" fmla="*/ 31 h 62"/>
                <a:gd name="T10" fmla="*/ 0 w 33"/>
                <a:gd name="T11" fmla="*/ 26 h 62"/>
                <a:gd name="T12" fmla="*/ 2 w 33"/>
                <a:gd name="T13" fmla="*/ 22 h 62"/>
                <a:gd name="T14" fmla="*/ 4 w 33"/>
                <a:gd name="T15" fmla="*/ 17 h 62"/>
                <a:gd name="T16" fmla="*/ 8 w 33"/>
                <a:gd name="T17" fmla="*/ 13 h 62"/>
                <a:gd name="T18" fmla="*/ 14 w 33"/>
                <a:gd name="T19" fmla="*/ 6 h 62"/>
                <a:gd name="T20" fmla="*/ 20 w 33"/>
                <a:gd name="T21" fmla="*/ 0 h 62"/>
                <a:gd name="T22" fmla="*/ 26 w 33"/>
                <a:gd name="T23" fmla="*/ 6 h 62"/>
                <a:gd name="T24" fmla="*/ 33 w 33"/>
                <a:gd name="T25" fmla="*/ 1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9" name="Freeform 70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7915275" y="4335463"/>
              <a:ext cx="9525" cy="58737"/>
            </a:xfrm>
            <a:custGeom>
              <a:avLst/>
              <a:gdLst>
                <a:gd name="T0" fmla="*/ 0 w 26"/>
                <a:gd name="T1" fmla="*/ 18 h 18"/>
                <a:gd name="T2" fmla="*/ 0 w 26"/>
                <a:gd name="T3" fmla="*/ 0 h 18"/>
                <a:gd name="T4" fmla="*/ 26 w 26"/>
                <a:gd name="T5" fmla="*/ 0 h 18"/>
                <a:gd name="T6" fmla="*/ 6 w 26"/>
                <a:gd name="T7" fmla="*/ 12 h 18"/>
                <a:gd name="T8" fmla="*/ 6 w 26"/>
                <a:gd name="T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60" name="Freeform 71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8029575" y="4244975"/>
              <a:ext cx="77788" cy="130175"/>
            </a:xfrm>
            <a:custGeom>
              <a:avLst/>
              <a:gdLst>
                <a:gd name="T0" fmla="*/ 180 w 180"/>
                <a:gd name="T1" fmla="*/ 222 h 240"/>
                <a:gd name="T2" fmla="*/ 175 w 180"/>
                <a:gd name="T3" fmla="*/ 223 h 240"/>
                <a:gd name="T4" fmla="*/ 171 w 180"/>
                <a:gd name="T5" fmla="*/ 223 h 240"/>
                <a:gd name="T6" fmla="*/ 167 w 180"/>
                <a:gd name="T7" fmla="*/ 225 h 240"/>
                <a:gd name="T8" fmla="*/ 164 w 180"/>
                <a:gd name="T9" fmla="*/ 227 h 240"/>
                <a:gd name="T10" fmla="*/ 158 w 180"/>
                <a:gd name="T11" fmla="*/ 232 h 240"/>
                <a:gd name="T12" fmla="*/ 153 w 180"/>
                <a:gd name="T13" fmla="*/ 240 h 240"/>
                <a:gd name="T14" fmla="*/ 140 w 180"/>
                <a:gd name="T15" fmla="*/ 232 h 240"/>
                <a:gd name="T16" fmla="*/ 131 w 180"/>
                <a:gd name="T17" fmla="*/ 223 h 240"/>
                <a:gd name="T18" fmla="*/ 123 w 180"/>
                <a:gd name="T19" fmla="*/ 214 h 240"/>
                <a:gd name="T20" fmla="*/ 118 w 180"/>
                <a:gd name="T21" fmla="*/ 206 h 240"/>
                <a:gd name="T22" fmla="*/ 112 w 180"/>
                <a:gd name="T23" fmla="*/ 195 h 240"/>
                <a:gd name="T24" fmla="*/ 106 w 180"/>
                <a:gd name="T25" fmla="*/ 185 h 240"/>
                <a:gd name="T26" fmla="*/ 98 w 180"/>
                <a:gd name="T27" fmla="*/ 174 h 240"/>
                <a:gd name="T28" fmla="*/ 87 w 180"/>
                <a:gd name="T29" fmla="*/ 161 h 240"/>
                <a:gd name="T30" fmla="*/ 82 w 180"/>
                <a:gd name="T31" fmla="*/ 153 h 240"/>
                <a:gd name="T32" fmla="*/ 75 w 180"/>
                <a:gd name="T33" fmla="*/ 146 h 240"/>
                <a:gd name="T34" fmla="*/ 70 w 180"/>
                <a:gd name="T35" fmla="*/ 139 h 240"/>
                <a:gd name="T36" fmla="*/ 62 w 180"/>
                <a:gd name="T37" fmla="*/ 133 h 240"/>
                <a:gd name="T38" fmla="*/ 48 w 180"/>
                <a:gd name="T39" fmla="*/ 121 h 240"/>
                <a:gd name="T40" fmla="*/ 33 w 180"/>
                <a:gd name="T41" fmla="*/ 110 h 240"/>
                <a:gd name="T42" fmla="*/ 27 w 180"/>
                <a:gd name="T43" fmla="*/ 104 h 240"/>
                <a:gd name="T44" fmla="*/ 21 w 180"/>
                <a:gd name="T45" fmla="*/ 98 h 240"/>
                <a:gd name="T46" fmla="*/ 15 w 180"/>
                <a:gd name="T47" fmla="*/ 92 h 240"/>
                <a:gd name="T48" fmla="*/ 10 w 180"/>
                <a:gd name="T49" fmla="*/ 84 h 240"/>
                <a:gd name="T50" fmla="*/ 6 w 180"/>
                <a:gd name="T51" fmla="*/ 77 h 240"/>
                <a:gd name="T52" fmla="*/ 4 w 180"/>
                <a:gd name="T53" fmla="*/ 68 h 240"/>
                <a:gd name="T54" fmla="*/ 1 w 180"/>
                <a:gd name="T55" fmla="*/ 60 h 240"/>
                <a:gd name="T56" fmla="*/ 0 w 180"/>
                <a:gd name="T57" fmla="*/ 50 h 240"/>
                <a:gd name="T58" fmla="*/ 0 w 180"/>
                <a:gd name="T59" fmla="*/ 35 h 240"/>
                <a:gd name="T60" fmla="*/ 0 w 180"/>
                <a:gd name="T61" fmla="*/ 25 h 240"/>
                <a:gd name="T62" fmla="*/ 0 w 180"/>
                <a:gd name="T63" fmla="*/ 15 h 240"/>
                <a:gd name="T64" fmla="*/ 0 w 180"/>
                <a:gd name="T65" fmla="*/ 0 h 240"/>
                <a:gd name="T66" fmla="*/ 10 w 180"/>
                <a:gd name="T67" fmla="*/ 8 h 240"/>
                <a:gd name="T68" fmla="*/ 19 w 180"/>
                <a:gd name="T69" fmla="*/ 17 h 240"/>
                <a:gd name="T70" fmla="*/ 27 w 180"/>
                <a:gd name="T71" fmla="*/ 27 h 240"/>
                <a:gd name="T72" fmla="*/ 34 w 180"/>
                <a:gd name="T73" fmla="*/ 38 h 240"/>
                <a:gd name="T74" fmla="*/ 41 w 180"/>
                <a:gd name="T75" fmla="*/ 48 h 240"/>
                <a:gd name="T76" fmla="*/ 46 w 180"/>
                <a:gd name="T77" fmla="*/ 58 h 240"/>
                <a:gd name="T78" fmla="*/ 51 w 180"/>
                <a:gd name="T79" fmla="*/ 66 h 240"/>
                <a:gd name="T80" fmla="*/ 54 w 180"/>
                <a:gd name="T81" fmla="*/ 74 h 240"/>
                <a:gd name="T82" fmla="*/ 60 w 180"/>
                <a:gd name="T83" fmla="*/ 86 h 240"/>
                <a:gd name="T84" fmla="*/ 66 w 180"/>
                <a:gd name="T85" fmla="*/ 98 h 240"/>
                <a:gd name="T86" fmla="*/ 74 w 180"/>
                <a:gd name="T87" fmla="*/ 107 h 240"/>
                <a:gd name="T88" fmla="*/ 82 w 180"/>
                <a:gd name="T89" fmla="*/ 116 h 240"/>
                <a:gd name="T90" fmla="*/ 100 w 180"/>
                <a:gd name="T91" fmla="*/ 133 h 240"/>
                <a:gd name="T92" fmla="*/ 119 w 180"/>
                <a:gd name="T93" fmla="*/ 149 h 240"/>
                <a:gd name="T94" fmla="*/ 139 w 180"/>
                <a:gd name="T95" fmla="*/ 164 h 240"/>
                <a:gd name="T96" fmla="*/ 155 w 180"/>
                <a:gd name="T97" fmla="*/ 180 h 240"/>
                <a:gd name="T98" fmla="*/ 163 w 180"/>
                <a:gd name="T99" fmla="*/ 189 h 240"/>
                <a:gd name="T100" fmla="*/ 169 w 180"/>
                <a:gd name="T101" fmla="*/ 199 h 240"/>
                <a:gd name="T102" fmla="*/ 175 w 180"/>
                <a:gd name="T103" fmla="*/ 210 h 240"/>
                <a:gd name="T104" fmla="*/ 180 w 180"/>
                <a:gd name="T105" fmla="*/ 222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61" name="Freeform 72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8029575" y="4217988"/>
              <a:ext cx="14288" cy="57150"/>
            </a:xfrm>
            <a:custGeom>
              <a:avLst/>
              <a:gdLst>
                <a:gd name="T0" fmla="*/ 0 w 27"/>
                <a:gd name="T1" fmla="*/ 0 h 30"/>
                <a:gd name="T2" fmla="*/ 1 w 27"/>
                <a:gd name="T3" fmla="*/ 5 h 30"/>
                <a:gd name="T4" fmla="*/ 3 w 27"/>
                <a:gd name="T5" fmla="*/ 11 h 30"/>
                <a:gd name="T6" fmla="*/ 4 w 27"/>
                <a:gd name="T7" fmla="*/ 14 h 30"/>
                <a:gd name="T8" fmla="*/ 4 w 27"/>
                <a:gd name="T9" fmla="*/ 19 h 30"/>
                <a:gd name="T10" fmla="*/ 3 w 27"/>
                <a:gd name="T11" fmla="*/ 24 h 30"/>
                <a:gd name="T12" fmla="*/ 0 w 27"/>
                <a:gd name="T13" fmla="*/ 30 h 30"/>
                <a:gd name="T14" fmla="*/ 17 w 27"/>
                <a:gd name="T15" fmla="*/ 27 h 30"/>
                <a:gd name="T16" fmla="*/ 27 w 27"/>
                <a:gd name="T17" fmla="*/ 24 h 30"/>
                <a:gd name="T18" fmla="*/ 23 w 27"/>
                <a:gd name="T19" fmla="*/ 20 h 30"/>
                <a:gd name="T20" fmla="*/ 17 w 27"/>
                <a:gd name="T21" fmla="*/ 12 h 30"/>
                <a:gd name="T22" fmla="*/ 11 w 27"/>
                <a:gd name="T23" fmla="*/ 8 h 30"/>
                <a:gd name="T24" fmla="*/ 7 w 27"/>
                <a:gd name="T25" fmla="*/ 4 h 30"/>
                <a:gd name="T26" fmla="*/ 4 w 27"/>
                <a:gd name="T27" fmla="*/ 1 h 30"/>
                <a:gd name="T28" fmla="*/ 0 w 27"/>
                <a:gd name="T2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grpSp>
          <p:nvGrpSpPr>
            <p:cNvPr id="62" name="Group 73"/>
            <p:cNvGrpSpPr>
              <a:grpSpLocks/>
            </p:cNvGrpSpPr>
            <p:nvPr>
              <p:custDataLst>
                <p:tags r:id="rId56"/>
              </p:custDataLst>
            </p:nvPr>
          </p:nvGrpSpPr>
          <p:grpSpPr bwMode="auto">
            <a:xfrm>
              <a:off x="7720013" y="4738688"/>
              <a:ext cx="458787" cy="404812"/>
              <a:chOff x="5372" y="3323"/>
              <a:chExt cx="341" cy="253"/>
            </a:xfrm>
          </p:grpSpPr>
          <p:sp>
            <p:nvSpPr>
              <p:cNvPr id="537" name="Freeform 74"/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31 h 33"/>
                  <a:gd name="T2" fmla="*/ 4 w 53"/>
                  <a:gd name="T3" fmla="*/ 26 h 33"/>
                  <a:gd name="T4" fmla="*/ 8 w 53"/>
                  <a:gd name="T5" fmla="*/ 21 h 33"/>
                  <a:gd name="T6" fmla="*/ 15 w 53"/>
                  <a:gd name="T7" fmla="*/ 16 h 33"/>
                  <a:gd name="T8" fmla="*/ 21 w 53"/>
                  <a:gd name="T9" fmla="*/ 11 h 33"/>
                  <a:gd name="T10" fmla="*/ 29 w 53"/>
                  <a:gd name="T11" fmla="*/ 7 h 33"/>
                  <a:gd name="T12" fmla="*/ 38 w 53"/>
                  <a:gd name="T13" fmla="*/ 3 h 33"/>
                  <a:gd name="T14" fmla="*/ 45 w 53"/>
                  <a:gd name="T15" fmla="*/ 1 h 33"/>
                  <a:gd name="T16" fmla="*/ 53 w 53"/>
                  <a:gd name="T17" fmla="*/ 0 h 33"/>
                  <a:gd name="T18" fmla="*/ 53 w 53"/>
                  <a:gd name="T19" fmla="*/ 18 h 33"/>
                  <a:gd name="T20" fmla="*/ 38 w 53"/>
                  <a:gd name="T21" fmla="*/ 24 h 33"/>
                  <a:gd name="T22" fmla="*/ 27 w 53"/>
                  <a:gd name="T23" fmla="*/ 30 h 33"/>
                  <a:gd name="T24" fmla="*/ 21 w 53"/>
                  <a:gd name="T25" fmla="*/ 32 h 33"/>
                  <a:gd name="T26" fmla="*/ 16 w 53"/>
                  <a:gd name="T27" fmla="*/ 33 h 33"/>
                  <a:gd name="T28" fmla="*/ 9 w 53"/>
                  <a:gd name="T29" fmla="*/ 33 h 33"/>
                  <a:gd name="T30" fmla="*/ 0 w 53"/>
                  <a:gd name="T31" fmla="*/ 3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38" name="Freeform 75"/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24 w 631"/>
                  <a:gd name="T1" fmla="*/ 296 h 358"/>
                  <a:gd name="T2" fmla="*/ 50 w 631"/>
                  <a:gd name="T3" fmla="*/ 290 h 358"/>
                  <a:gd name="T4" fmla="*/ 65 w 631"/>
                  <a:gd name="T5" fmla="*/ 277 h 358"/>
                  <a:gd name="T6" fmla="*/ 79 w 631"/>
                  <a:gd name="T7" fmla="*/ 253 h 358"/>
                  <a:gd name="T8" fmla="*/ 100 w 631"/>
                  <a:gd name="T9" fmla="*/ 256 h 358"/>
                  <a:gd name="T10" fmla="*/ 126 w 631"/>
                  <a:gd name="T11" fmla="*/ 253 h 358"/>
                  <a:gd name="T12" fmla="*/ 141 w 631"/>
                  <a:gd name="T13" fmla="*/ 247 h 358"/>
                  <a:gd name="T14" fmla="*/ 162 w 631"/>
                  <a:gd name="T15" fmla="*/ 229 h 358"/>
                  <a:gd name="T16" fmla="*/ 180 w 631"/>
                  <a:gd name="T17" fmla="*/ 208 h 358"/>
                  <a:gd name="T18" fmla="*/ 211 w 631"/>
                  <a:gd name="T19" fmla="*/ 192 h 358"/>
                  <a:gd name="T20" fmla="*/ 260 w 631"/>
                  <a:gd name="T21" fmla="*/ 175 h 358"/>
                  <a:gd name="T22" fmla="*/ 329 w 631"/>
                  <a:gd name="T23" fmla="*/ 152 h 358"/>
                  <a:gd name="T24" fmla="*/ 361 w 631"/>
                  <a:gd name="T25" fmla="*/ 137 h 358"/>
                  <a:gd name="T26" fmla="*/ 392 w 631"/>
                  <a:gd name="T27" fmla="*/ 130 h 358"/>
                  <a:gd name="T28" fmla="*/ 406 w 631"/>
                  <a:gd name="T29" fmla="*/ 127 h 358"/>
                  <a:gd name="T30" fmla="*/ 440 w 631"/>
                  <a:gd name="T31" fmla="*/ 107 h 358"/>
                  <a:gd name="T32" fmla="*/ 469 w 631"/>
                  <a:gd name="T33" fmla="*/ 80 h 358"/>
                  <a:gd name="T34" fmla="*/ 478 w 631"/>
                  <a:gd name="T35" fmla="*/ 63 h 358"/>
                  <a:gd name="T36" fmla="*/ 504 w 631"/>
                  <a:gd name="T37" fmla="*/ 58 h 358"/>
                  <a:gd name="T38" fmla="*/ 537 w 631"/>
                  <a:gd name="T39" fmla="*/ 36 h 358"/>
                  <a:gd name="T40" fmla="*/ 568 w 631"/>
                  <a:gd name="T41" fmla="*/ 11 h 358"/>
                  <a:gd name="T42" fmla="*/ 591 w 631"/>
                  <a:gd name="T43" fmla="*/ 0 h 358"/>
                  <a:gd name="T44" fmla="*/ 602 w 631"/>
                  <a:gd name="T45" fmla="*/ 22 h 358"/>
                  <a:gd name="T46" fmla="*/ 617 w 631"/>
                  <a:gd name="T47" fmla="*/ 30 h 358"/>
                  <a:gd name="T48" fmla="*/ 625 w 631"/>
                  <a:gd name="T49" fmla="*/ 46 h 358"/>
                  <a:gd name="T50" fmla="*/ 601 w 631"/>
                  <a:gd name="T51" fmla="*/ 88 h 358"/>
                  <a:gd name="T52" fmla="*/ 568 w 631"/>
                  <a:gd name="T53" fmla="*/ 125 h 358"/>
                  <a:gd name="T54" fmla="*/ 529 w 631"/>
                  <a:gd name="T55" fmla="*/ 154 h 358"/>
                  <a:gd name="T56" fmla="*/ 487 w 631"/>
                  <a:gd name="T57" fmla="*/ 173 h 358"/>
                  <a:gd name="T58" fmla="*/ 445 w 631"/>
                  <a:gd name="T59" fmla="*/ 180 h 358"/>
                  <a:gd name="T60" fmla="*/ 438 w 631"/>
                  <a:gd name="T61" fmla="*/ 197 h 358"/>
                  <a:gd name="T62" fmla="*/ 433 w 631"/>
                  <a:gd name="T63" fmla="*/ 200 h 358"/>
                  <a:gd name="T64" fmla="*/ 395 w 631"/>
                  <a:gd name="T65" fmla="*/ 199 h 358"/>
                  <a:gd name="T66" fmla="*/ 367 w 631"/>
                  <a:gd name="T67" fmla="*/ 210 h 358"/>
                  <a:gd name="T68" fmla="*/ 347 w 631"/>
                  <a:gd name="T69" fmla="*/ 212 h 358"/>
                  <a:gd name="T70" fmla="*/ 338 w 631"/>
                  <a:gd name="T71" fmla="*/ 204 h 358"/>
                  <a:gd name="T72" fmla="*/ 313 w 631"/>
                  <a:gd name="T73" fmla="*/ 241 h 358"/>
                  <a:gd name="T74" fmla="*/ 272 w 631"/>
                  <a:gd name="T75" fmla="*/ 280 h 358"/>
                  <a:gd name="T76" fmla="*/ 220 w 631"/>
                  <a:gd name="T77" fmla="*/ 315 h 358"/>
                  <a:gd name="T78" fmla="*/ 164 w 631"/>
                  <a:gd name="T79" fmla="*/ 343 h 358"/>
                  <a:gd name="T80" fmla="*/ 110 w 631"/>
                  <a:gd name="T81" fmla="*/ 357 h 358"/>
                  <a:gd name="T82" fmla="*/ 71 w 631"/>
                  <a:gd name="T83" fmla="*/ 356 h 358"/>
                  <a:gd name="T84" fmla="*/ 56 w 631"/>
                  <a:gd name="T85" fmla="*/ 348 h 358"/>
                  <a:gd name="T86" fmla="*/ 33 w 631"/>
                  <a:gd name="T87" fmla="*/ 340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39" name="Freeform 76"/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60 w 359"/>
                  <a:gd name="T1" fmla="*/ 288 h 431"/>
                  <a:gd name="T2" fmla="*/ 95 w 359"/>
                  <a:gd name="T3" fmla="*/ 269 h 431"/>
                  <a:gd name="T4" fmla="*/ 165 w 359"/>
                  <a:gd name="T5" fmla="*/ 209 h 431"/>
                  <a:gd name="T6" fmla="*/ 172 w 359"/>
                  <a:gd name="T7" fmla="*/ 168 h 431"/>
                  <a:gd name="T8" fmla="*/ 180 w 359"/>
                  <a:gd name="T9" fmla="*/ 149 h 431"/>
                  <a:gd name="T10" fmla="*/ 193 w 359"/>
                  <a:gd name="T11" fmla="*/ 137 h 431"/>
                  <a:gd name="T12" fmla="*/ 190 w 359"/>
                  <a:gd name="T13" fmla="*/ 126 h 431"/>
                  <a:gd name="T14" fmla="*/ 179 w 359"/>
                  <a:gd name="T15" fmla="*/ 94 h 431"/>
                  <a:gd name="T16" fmla="*/ 173 w 359"/>
                  <a:gd name="T17" fmla="*/ 34 h 431"/>
                  <a:gd name="T18" fmla="*/ 182 w 359"/>
                  <a:gd name="T19" fmla="*/ 0 h 431"/>
                  <a:gd name="T20" fmla="*/ 194 w 359"/>
                  <a:gd name="T21" fmla="*/ 11 h 431"/>
                  <a:gd name="T22" fmla="*/ 207 w 359"/>
                  <a:gd name="T23" fmla="*/ 29 h 431"/>
                  <a:gd name="T24" fmla="*/ 231 w 359"/>
                  <a:gd name="T25" fmla="*/ 56 h 431"/>
                  <a:gd name="T26" fmla="*/ 238 w 359"/>
                  <a:gd name="T27" fmla="*/ 73 h 431"/>
                  <a:gd name="T28" fmla="*/ 237 w 359"/>
                  <a:gd name="T29" fmla="*/ 88 h 431"/>
                  <a:gd name="T30" fmla="*/ 226 w 359"/>
                  <a:gd name="T31" fmla="*/ 102 h 431"/>
                  <a:gd name="T32" fmla="*/ 205 w 359"/>
                  <a:gd name="T33" fmla="*/ 120 h 431"/>
                  <a:gd name="T34" fmla="*/ 199 w 359"/>
                  <a:gd name="T35" fmla="*/ 131 h 431"/>
                  <a:gd name="T36" fmla="*/ 199 w 359"/>
                  <a:gd name="T37" fmla="*/ 149 h 431"/>
                  <a:gd name="T38" fmla="*/ 205 w 359"/>
                  <a:gd name="T39" fmla="*/ 159 h 431"/>
                  <a:gd name="T40" fmla="*/ 226 w 359"/>
                  <a:gd name="T41" fmla="*/ 160 h 431"/>
                  <a:gd name="T42" fmla="*/ 233 w 359"/>
                  <a:gd name="T43" fmla="*/ 153 h 431"/>
                  <a:gd name="T44" fmla="*/ 232 w 359"/>
                  <a:gd name="T45" fmla="*/ 135 h 431"/>
                  <a:gd name="T46" fmla="*/ 259 w 359"/>
                  <a:gd name="T47" fmla="*/ 193 h 431"/>
                  <a:gd name="T48" fmla="*/ 271 w 359"/>
                  <a:gd name="T49" fmla="*/ 208 h 431"/>
                  <a:gd name="T50" fmla="*/ 291 w 359"/>
                  <a:gd name="T51" fmla="*/ 219 h 431"/>
                  <a:gd name="T52" fmla="*/ 300 w 359"/>
                  <a:gd name="T53" fmla="*/ 217 h 431"/>
                  <a:gd name="T54" fmla="*/ 312 w 359"/>
                  <a:gd name="T55" fmla="*/ 206 h 431"/>
                  <a:gd name="T56" fmla="*/ 341 w 359"/>
                  <a:gd name="T57" fmla="*/ 194 h 431"/>
                  <a:gd name="T58" fmla="*/ 355 w 359"/>
                  <a:gd name="T59" fmla="*/ 206 h 431"/>
                  <a:gd name="T60" fmla="*/ 342 w 359"/>
                  <a:gd name="T61" fmla="*/ 240 h 431"/>
                  <a:gd name="T62" fmla="*/ 321 w 359"/>
                  <a:gd name="T63" fmla="*/ 261 h 431"/>
                  <a:gd name="T64" fmla="*/ 295 w 359"/>
                  <a:gd name="T65" fmla="*/ 275 h 431"/>
                  <a:gd name="T66" fmla="*/ 247 w 359"/>
                  <a:gd name="T67" fmla="*/ 288 h 431"/>
                  <a:gd name="T68" fmla="*/ 208 w 359"/>
                  <a:gd name="T69" fmla="*/ 299 h 431"/>
                  <a:gd name="T70" fmla="*/ 193 w 359"/>
                  <a:gd name="T71" fmla="*/ 308 h 431"/>
                  <a:gd name="T72" fmla="*/ 179 w 359"/>
                  <a:gd name="T73" fmla="*/ 339 h 431"/>
                  <a:gd name="T74" fmla="*/ 163 w 359"/>
                  <a:gd name="T75" fmla="*/ 356 h 431"/>
                  <a:gd name="T76" fmla="*/ 109 w 359"/>
                  <a:gd name="T77" fmla="*/ 394 h 431"/>
                  <a:gd name="T78" fmla="*/ 48 w 359"/>
                  <a:gd name="T79" fmla="*/ 424 h 431"/>
                  <a:gd name="T80" fmla="*/ 19 w 359"/>
                  <a:gd name="T81" fmla="*/ 431 h 431"/>
                  <a:gd name="T82" fmla="*/ 7 w 359"/>
                  <a:gd name="T83" fmla="*/ 426 h 431"/>
                  <a:gd name="T84" fmla="*/ 1 w 359"/>
                  <a:gd name="T85" fmla="*/ 415 h 431"/>
                  <a:gd name="T86" fmla="*/ 1 w 359"/>
                  <a:gd name="T87" fmla="*/ 402 h 431"/>
                  <a:gd name="T88" fmla="*/ 9 w 359"/>
                  <a:gd name="T89" fmla="*/ 391 h 431"/>
                  <a:gd name="T90" fmla="*/ 56 w 359"/>
                  <a:gd name="T91" fmla="*/ 374 h 431"/>
                  <a:gd name="T92" fmla="*/ 73 w 359"/>
                  <a:gd name="T93" fmla="*/ 351 h 431"/>
                  <a:gd name="T94" fmla="*/ 71 w 359"/>
                  <a:gd name="T95" fmla="*/ 335 h 431"/>
                  <a:gd name="T96" fmla="*/ 64 w 359"/>
                  <a:gd name="T97" fmla="*/ 326 h 431"/>
                  <a:gd name="T98" fmla="*/ 51 w 359"/>
                  <a:gd name="T99" fmla="*/ 320 h 431"/>
                  <a:gd name="T100" fmla="*/ 19 w 359"/>
                  <a:gd name="T101" fmla="*/ 320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</p:grpSp>
        <p:sp>
          <p:nvSpPr>
            <p:cNvPr id="63" name="Freeform 77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7362825" y="3395663"/>
              <a:ext cx="9525" cy="57150"/>
            </a:xfrm>
            <a:custGeom>
              <a:avLst/>
              <a:gdLst>
                <a:gd name="T0" fmla="*/ 0 w 21"/>
                <a:gd name="T1" fmla="*/ 43 h 62"/>
                <a:gd name="T2" fmla="*/ 1 w 21"/>
                <a:gd name="T3" fmla="*/ 29 h 62"/>
                <a:gd name="T4" fmla="*/ 3 w 21"/>
                <a:gd name="T5" fmla="*/ 17 h 62"/>
                <a:gd name="T6" fmla="*/ 4 w 21"/>
                <a:gd name="T7" fmla="*/ 11 h 62"/>
                <a:gd name="T8" fmla="*/ 6 w 21"/>
                <a:gd name="T9" fmla="*/ 7 h 62"/>
                <a:gd name="T10" fmla="*/ 9 w 21"/>
                <a:gd name="T11" fmla="*/ 3 h 62"/>
                <a:gd name="T12" fmla="*/ 15 w 21"/>
                <a:gd name="T13" fmla="*/ 0 h 62"/>
                <a:gd name="T14" fmla="*/ 15 w 21"/>
                <a:gd name="T15" fmla="*/ 15 h 62"/>
                <a:gd name="T16" fmla="*/ 18 w 21"/>
                <a:gd name="T17" fmla="*/ 31 h 62"/>
                <a:gd name="T18" fmla="*/ 20 w 21"/>
                <a:gd name="T19" fmla="*/ 44 h 62"/>
                <a:gd name="T20" fmla="*/ 21 w 21"/>
                <a:gd name="T21" fmla="*/ 49 h 62"/>
                <a:gd name="T22" fmla="*/ 10 w 21"/>
                <a:gd name="T23" fmla="*/ 55 h 62"/>
                <a:gd name="T24" fmla="*/ 0 w 21"/>
                <a:gd name="T25" fmla="*/ 62 h 62"/>
                <a:gd name="T26" fmla="*/ 0 w 21"/>
                <a:gd name="T27" fmla="*/ 4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64" name="Freeform 78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8089900" y="4297363"/>
              <a:ext cx="14288" cy="57150"/>
            </a:xfrm>
            <a:custGeom>
              <a:avLst/>
              <a:gdLst>
                <a:gd name="T0" fmla="*/ 0 w 33"/>
                <a:gd name="T1" fmla="*/ 0 h 24"/>
                <a:gd name="T2" fmla="*/ 5 w 33"/>
                <a:gd name="T3" fmla="*/ 5 h 24"/>
                <a:gd name="T4" fmla="*/ 10 w 33"/>
                <a:gd name="T5" fmla="*/ 10 h 24"/>
                <a:gd name="T6" fmla="*/ 11 w 33"/>
                <a:gd name="T7" fmla="*/ 13 h 24"/>
                <a:gd name="T8" fmla="*/ 12 w 33"/>
                <a:gd name="T9" fmla="*/ 16 h 24"/>
                <a:gd name="T10" fmla="*/ 13 w 33"/>
                <a:gd name="T11" fmla="*/ 20 h 24"/>
                <a:gd name="T12" fmla="*/ 13 w 33"/>
                <a:gd name="T13" fmla="*/ 24 h 24"/>
                <a:gd name="T14" fmla="*/ 33 w 33"/>
                <a:gd name="T15" fmla="*/ 0 h 24"/>
                <a:gd name="T16" fmla="*/ 24 w 33"/>
                <a:gd name="T17" fmla="*/ 0 h 24"/>
                <a:gd name="T18" fmla="*/ 16 w 33"/>
                <a:gd name="T19" fmla="*/ 0 h 24"/>
                <a:gd name="T20" fmla="*/ 9 w 33"/>
                <a:gd name="T21" fmla="*/ 0 h 24"/>
                <a:gd name="T22" fmla="*/ 0 w 33"/>
                <a:gd name="T2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65" name="Freeform 79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8112125" y="4306888"/>
              <a:ext cx="17463" cy="58737"/>
            </a:xfrm>
            <a:custGeom>
              <a:avLst/>
              <a:gdLst>
                <a:gd name="T0" fmla="*/ 26 w 33"/>
                <a:gd name="T1" fmla="*/ 25 h 25"/>
                <a:gd name="T2" fmla="*/ 29 w 33"/>
                <a:gd name="T3" fmla="*/ 22 h 25"/>
                <a:gd name="T4" fmla="*/ 33 w 33"/>
                <a:gd name="T5" fmla="*/ 18 h 25"/>
                <a:gd name="T6" fmla="*/ 33 w 33"/>
                <a:gd name="T7" fmla="*/ 0 h 25"/>
                <a:gd name="T8" fmla="*/ 25 w 33"/>
                <a:gd name="T9" fmla="*/ 0 h 25"/>
                <a:gd name="T10" fmla="*/ 16 w 33"/>
                <a:gd name="T11" fmla="*/ 0 h 25"/>
                <a:gd name="T12" fmla="*/ 6 w 33"/>
                <a:gd name="T13" fmla="*/ 0 h 25"/>
                <a:gd name="T14" fmla="*/ 0 w 33"/>
                <a:gd name="T15" fmla="*/ 0 h 25"/>
                <a:gd name="T16" fmla="*/ 26 w 33"/>
                <a:gd name="T1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66" name="Freeform 80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7426325" y="3384550"/>
              <a:ext cx="1588" cy="55563"/>
            </a:xfrm>
            <a:custGeom>
              <a:avLst/>
              <a:gdLst>
                <a:gd name="T0" fmla="*/ 0 w 7"/>
                <a:gd name="T1" fmla="*/ 7 w 7"/>
                <a:gd name="T2" fmla="*/ 0 w 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7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67" name="Freeform 81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7485063" y="3328988"/>
              <a:ext cx="6350" cy="57150"/>
            </a:xfrm>
            <a:custGeom>
              <a:avLst/>
              <a:gdLst>
                <a:gd name="T0" fmla="*/ 16 w 16"/>
                <a:gd name="T1" fmla="*/ 0 h 25"/>
                <a:gd name="T2" fmla="*/ 16 w 16"/>
                <a:gd name="T3" fmla="*/ 6 h 25"/>
                <a:gd name="T4" fmla="*/ 14 w 16"/>
                <a:gd name="T5" fmla="*/ 13 h 25"/>
                <a:gd name="T6" fmla="*/ 13 w 16"/>
                <a:gd name="T7" fmla="*/ 16 h 25"/>
                <a:gd name="T8" fmla="*/ 11 w 16"/>
                <a:gd name="T9" fmla="*/ 20 h 25"/>
                <a:gd name="T10" fmla="*/ 7 w 16"/>
                <a:gd name="T11" fmla="*/ 23 h 25"/>
                <a:gd name="T12" fmla="*/ 3 w 16"/>
                <a:gd name="T13" fmla="*/ 25 h 25"/>
                <a:gd name="T14" fmla="*/ 1 w 16"/>
                <a:gd name="T15" fmla="*/ 24 h 25"/>
                <a:gd name="T16" fmla="*/ 0 w 16"/>
                <a:gd name="T17" fmla="*/ 21 h 25"/>
                <a:gd name="T18" fmla="*/ 1 w 16"/>
                <a:gd name="T19" fmla="*/ 18 h 25"/>
                <a:gd name="T20" fmla="*/ 2 w 16"/>
                <a:gd name="T21" fmla="*/ 13 h 25"/>
                <a:gd name="T22" fmla="*/ 4 w 16"/>
                <a:gd name="T23" fmla="*/ 9 h 25"/>
                <a:gd name="T24" fmla="*/ 7 w 16"/>
                <a:gd name="T25" fmla="*/ 4 h 25"/>
                <a:gd name="T26" fmla="*/ 11 w 16"/>
                <a:gd name="T27" fmla="*/ 1 h 25"/>
                <a:gd name="T28" fmla="*/ 16 w 16"/>
                <a:gd name="T2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68" name="Freeform 82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7597775" y="3217863"/>
              <a:ext cx="4763" cy="57150"/>
            </a:xfrm>
            <a:custGeom>
              <a:avLst/>
              <a:gdLst>
                <a:gd name="T0" fmla="*/ 0 w 14"/>
                <a:gd name="T1" fmla="*/ 0 h 18"/>
                <a:gd name="T2" fmla="*/ 3 w 14"/>
                <a:gd name="T3" fmla="*/ 1 h 18"/>
                <a:gd name="T4" fmla="*/ 5 w 14"/>
                <a:gd name="T5" fmla="*/ 2 h 18"/>
                <a:gd name="T6" fmla="*/ 7 w 14"/>
                <a:gd name="T7" fmla="*/ 4 h 18"/>
                <a:gd name="T8" fmla="*/ 9 w 14"/>
                <a:gd name="T9" fmla="*/ 7 h 18"/>
                <a:gd name="T10" fmla="*/ 13 w 14"/>
                <a:gd name="T11" fmla="*/ 13 h 18"/>
                <a:gd name="T12" fmla="*/ 14 w 14"/>
                <a:gd name="T13" fmla="*/ 18 h 18"/>
                <a:gd name="T14" fmla="*/ 0 w 14"/>
                <a:gd name="T1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69" name="Freeform 83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7750175" y="3916363"/>
              <a:ext cx="26988" cy="58737"/>
            </a:xfrm>
            <a:custGeom>
              <a:avLst/>
              <a:gdLst>
                <a:gd name="T0" fmla="*/ 0 w 67"/>
                <a:gd name="T1" fmla="*/ 0 h 74"/>
                <a:gd name="T2" fmla="*/ 1 w 67"/>
                <a:gd name="T3" fmla="*/ 17 h 74"/>
                <a:gd name="T4" fmla="*/ 3 w 67"/>
                <a:gd name="T5" fmla="*/ 30 h 74"/>
                <a:gd name="T6" fmla="*/ 7 w 67"/>
                <a:gd name="T7" fmla="*/ 41 h 74"/>
                <a:gd name="T8" fmla="*/ 12 w 67"/>
                <a:gd name="T9" fmla="*/ 50 h 74"/>
                <a:gd name="T10" fmla="*/ 17 w 67"/>
                <a:gd name="T11" fmla="*/ 58 h 74"/>
                <a:gd name="T12" fmla="*/ 23 w 67"/>
                <a:gd name="T13" fmla="*/ 64 h 74"/>
                <a:gd name="T14" fmla="*/ 28 w 67"/>
                <a:gd name="T15" fmla="*/ 69 h 74"/>
                <a:gd name="T16" fmla="*/ 33 w 67"/>
                <a:gd name="T17" fmla="*/ 74 h 74"/>
                <a:gd name="T18" fmla="*/ 44 w 67"/>
                <a:gd name="T19" fmla="*/ 65 h 74"/>
                <a:gd name="T20" fmla="*/ 55 w 67"/>
                <a:gd name="T21" fmla="*/ 55 h 74"/>
                <a:gd name="T22" fmla="*/ 59 w 67"/>
                <a:gd name="T23" fmla="*/ 49 h 74"/>
                <a:gd name="T24" fmla="*/ 63 w 67"/>
                <a:gd name="T25" fmla="*/ 43 h 74"/>
                <a:gd name="T26" fmla="*/ 66 w 67"/>
                <a:gd name="T27" fmla="*/ 37 h 74"/>
                <a:gd name="T28" fmla="*/ 67 w 67"/>
                <a:gd name="T29" fmla="*/ 30 h 74"/>
                <a:gd name="T30" fmla="*/ 67 w 67"/>
                <a:gd name="T31" fmla="*/ 25 h 74"/>
                <a:gd name="T32" fmla="*/ 67 w 67"/>
                <a:gd name="T33" fmla="*/ 18 h 74"/>
                <a:gd name="T34" fmla="*/ 67 w 67"/>
                <a:gd name="T35" fmla="*/ 9 h 74"/>
                <a:gd name="T36" fmla="*/ 67 w 67"/>
                <a:gd name="T37" fmla="*/ 0 h 74"/>
                <a:gd name="T38" fmla="*/ 48 w 67"/>
                <a:gd name="T39" fmla="*/ 0 h 74"/>
                <a:gd name="T40" fmla="*/ 33 w 67"/>
                <a:gd name="T41" fmla="*/ 0 h 74"/>
                <a:gd name="T42" fmla="*/ 17 w 67"/>
                <a:gd name="T43" fmla="*/ 0 h 74"/>
                <a:gd name="T44" fmla="*/ 0 w 67"/>
                <a:gd name="T4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70" name="Freeform 84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7813675" y="3930650"/>
              <a:ext cx="12700" cy="57150"/>
            </a:xfrm>
            <a:custGeom>
              <a:avLst/>
              <a:gdLst>
                <a:gd name="T0" fmla="*/ 0 w 34"/>
                <a:gd name="T1" fmla="*/ 0 h 38"/>
                <a:gd name="T2" fmla="*/ 2 w 34"/>
                <a:gd name="T3" fmla="*/ 3 h 38"/>
                <a:gd name="T4" fmla="*/ 4 w 34"/>
                <a:gd name="T5" fmla="*/ 7 h 38"/>
                <a:gd name="T6" fmla="*/ 5 w 34"/>
                <a:gd name="T7" fmla="*/ 11 h 38"/>
                <a:gd name="T8" fmla="*/ 6 w 34"/>
                <a:gd name="T9" fmla="*/ 16 h 38"/>
                <a:gd name="T10" fmla="*/ 10 w 34"/>
                <a:gd name="T11" fmla="*/ 28 h 38"/>
                <a:gd name="T12" fmla="*/ 13 w 34"/>
                <a:gd name="T13" fmla="*/ 38 h 38"/>
                <a:gd name="T14" fmla="*/ 16 w 34"/>
                <a:gd name="T15" fmla="*/ 37 h 38"/>
                <a:gd name="T16" fmla="*/ 20 w 34"/>
                <a:gd name="T17" fmla="*/ 36 h 38"/>
                <a:gd name="T18" fmla="*/ 23 w 34"/>
                <a:gd name="T19" fmla="*/ 34 h 38"/>
                <a:gd name="T20" fmla="*/ 26 w 34"/>
                <a:gd name="T21" fmla="*/ 31 h 38"/>
                <a:gd name="T22" fmla="*/ 28 w 34"/>
                <a:gd name="T23" fmla="*/ 28 h 38"/>
                <a:gd name="T24" fmla="*/ 32 w 34"/>
                <a:gd name="T25" fmla="*/ 24 h 38"/>
                <a:gd name="T26" fmla="*/ 33 w 34"/>
                <a:gd name="T27" fmla="*/ 21 h 38"/>
                <a:gd name="T28" fmla="*/ 34 w 34"/>
                <a:gd name="T29" fmla="*/ 19 h 38"/>
                <a:gd name="T30" fmla="*/ 31 w 34"/>
                <a:gd name="T31" fmla="*/ 18 h 38"/>
                <a:gd name="T32" fmla="*/ 28 w 34"/>
                <a:gd name="T33" fmla="*/ 17 h 38"/>
                <a:gd name="T34" fmla="*/ 26 w 34"/>
                <a:gd name="T35" fmla="*/ 14 h 38"/>
                <a:gd name="T36" fmla="*/ 24 w 34"/>
                <a:gd name="T37" fmla="*/ 12 h 38"/>
                <a:gd name="T38" fmla="*/ 19 w 34"/>
                <a:gd name="T39" fmla="*/ 6 h 38"/>
                <a:gd name="T40" fmla="*/ 13 w 34"/>
                <a:gd name="T41" fmla="*/ 0 h 38"/>
                <a:gd name="T42" fmla="*/ 6 w 34"/>
                <a:gd name="T43" fmla="*/ 0 h 38"/>
                <a:gd name="T44" fmla="*/ 0 w 34"/>
                <a:gd name="T45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71" name="Freeform 85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7670800" y="3706813"/>
              <a:ext cx="25400" cy="55562"/>
            </a:xfrm>
            <a:custGeom>
              <a:avLst/>
              <a:gdLst>
                <a:gd name="T0" fmla="*/ 53 w 53"/>
                <a:gd name="T1" fmla="*/ 23 h 23"/>
                <a:gd name="T2" fmla="*/ 53 w 53"/>
                <a:gd name="T3" fmla="*/ 4 h 23"/>
                <a:gd name="T4" fmla="*/ 49 w 53"/>
                <a:gd name="T5" fmla="*/ 2 h 23"/>
                <a:gd name="T6" fmla="*/ 45 w 53"/>
                <a:gd name="T7" fmla="*/ 1 h 23"/>
                <a:gd name="T8" fmla="*/ 42 w 53"/>
                <a:gd name="T9" fmla="*/ 0 h 23"/>
                <a:gd name="T10" fmla="*/ 38 w 53"/>
                <a:gd name="T11" fmla="*/ 0 h 23"/>
                <a:gd name="T12" fmla="*/ 31 w 53"/>
                <a:gd name="T13" fmla="*/ 1 h 23"/>
                <a:gd name="T14" fmla="*/ 24 w 53"/>
                <a:gd name="T15" fmla="*/ 4 h 23"/>
                <a:gd name="T16" fmla="*/ 11 w 53"/>
                <a:gd name="T17" fmla="*/ 13 h 23"/>
                <a:gd name="T18" fmla="*/ 0 w 53"/>
                <a:gd name="T19" fmla="*/ 23 h 23"/>
                <a:gd name="T20" fmla="*/ 53 w 53"/>
                <a:gd name="T21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72" name="Freeform 86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7613650" y="3681413"/>
              <a:ext cx="11113" cy="57150"/>
            </a:xfrm>
            <a:custGeom>
              <a:avLst/>
              <a:gdLst>
                <a:gd name="T0" fmla="*/ 0 w 26"/>
                <a:gd name="T1" fmla="*/ 0 h 12"/>
                <a:gd name="T2" fmla="*/ 4 w 26"/>
                <a:gd name="T3" fmla="*/ 4 h 12"/>
                <a:gd name="T4" fmla="*/ 11 w 26"/>
                <a:gd name="T5" fmla="*/ 8 h 12"/>
                <a:gd name="T6" fmla="*/ 14 w 26"/>
                <a:gd name="T7" fmla="*/ 9 h 12"/>
                <a:gd name="T8" fmla="*/ 18 w 26"/>
                <a:gd name="T9" fmla="*/ 11 h 12"/>
                <a:gd name="T10" fmla="*/ 22 w 26"/>
                <a:gd name="T11" fmla="*/ 11 h 12"/>
                <a:gd name="T12" fmla="*/ 26 w 26"/>
                <a:gd name="T13" fmla="*/ 12 h 12"/>
                <a:gd name="T14" fmla="*/ 21 w 26"/>
                <a:gd name="T15" fmla="*/ 7 h 12"/>
                <a:gd name="T16" fmla="*/ 13 w 26"/>
                <a:gd name="T17" fmla="*/ 3 h 12"/>
                <a:gd name="T18" fmla="*/ 5 w 26"/>
                <a:gd name="T19" fmla="*/ 1 h 12"/>
                <a:gd name="T20" fmla="*/ 0 w 26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73" name="Freeform 87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7813675" y="4013200"/>
              <a:ext cx="31750" cy="57150"/>
            </a:xfrm>
            <a:custGeom>
              <a:avLst/>
              <a:gdLst>
                <a:gd name="T0" fmla="*/ 0 w 73"/>
                <a:gd name="T1" fmla="*/ 20 w 73"/>
                <a:gd name="T2" fmla="*/ 37 w 73"/>
                <a:gd name="T3" fmla="*/ 55 w 73"/>
                <a:gd name="T4" fmla="*/ 73 w 7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73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74" name="Freeform 88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7769225" y="4002088"/>
              <a:ext cx="22225" cy="57150"/>
            </a:xfrm>
            <a:custGeom>
              <a:avLst/>
              <a:gdLst>
                <a:gd name="T0" fmla="*/ 0 w 53"/>
                <a:gd name="T1" fmla="*/ 0 h 3"/>
                <a:gd name="T2" fmla="*/ 14 w 53"/>
                <a:gd name="T3" fmla="*/ 0 h 3"/>
                <a:gd name="T4" fmla="*/ 27 w 53"/>
                <a:gd name="T5" fmla="*/ 3 h 3"/>
                <a:gd name="T6" fmla="*/ 32 w 53"/>
                <a:gd name="T7" fmla="*/ 3 h 3"/>
                <a:gd name="T8" fmla="*/ 39 w 53"/>
                <a:gd name="T9" fmla="*/ 3 h 3"/>
                <a:gd name="T10" fmla="*/ 45 w 53"/>
                <a:gd name="T11" fmla="*/ 1 h 3"/>
                <a:gd name="T12" fmla="*/ 53 w 5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75" name="Line 89"/>
            <p:cNvSpPr>
              <a:spLocks noChangeShapeType="1"/>
            </p:cNvSpPr>
            <p:nvPr>
              <p:custDataLst>
                <p:tags r:id="rId69"/>
              </p:custDataLst>
            </p:nvPr>
          </p:nvSpPr>
          <p:spPr bwMode="auto">
            <a:xfrm>
              <a:off x="7802563" y="3987800"/>
              <a:ext cx="20637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76" name="Freeform 90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7823200" y="3994150"/>
              <a:ext cx="1588" cy="57150"/>
            </a:xfrm>
            <a:custGeom>
              <a:avLst/>
              <a:gdLst>
                <a:gd name="T0" fmla="*/ 0 h 13"/>
                <a:gd name="T1" fmla="*/ 6 h 13"/>
                <a:gd name="T2" fmla="*/ 13 h 1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77" name="Freeform 91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7777163" y="3987800"/>
              <a:ext cx="14287" cy="58738"/>
            </a:xfrm>
            <a:custGeom>
              <a:avLst/>
              <a:gdLst>
                <a:gd name="T0" fmla="*/ 0 w 26"/>
                <a:gd name="T1" fmla="*/ 15 w 26"/>
                <a:gd name="T2" fmla="*/ 26 w 2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6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78" name="Freeform 92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7770813" y="3968750"/>
              <a:ext cx="6350" cy="60325"/>
            </a:xfrm>
            <a:custGeom>
              <a:avLst/>
              <a:gdLst>
                <a:gd name="T0" fmla="*/ 20 w 20"/>
                <a:gd name="T1" fmla="*/ 0 h 25"/>
                <a:gd name="T2" fmla="*/ 0 w 20"/>
                <a:gd name="T3" fmla="*/ 13 h 25"/>
                <a:gd name="T4" fmla="*/ 4 w 20"/>
                <a:gd name="T5" fmla="*/ 18 h 25"/>
                <a:gd name="T6" fmla="*/ 10 w 20"/>
                <a:gd name="T7" fmla="*/ 21 h 25"/>
                <a:gd name="T8" fmla="*/ 14 w 20"/>
                <a:gd name="T9" fmla="*/ 24 h 25"/>
                <a:gd name="T10" fmla="*/ 20 w 20"/>
                <a:gd name="T11" fmla="*/ 25 h 25"/>
                <a:gd name="T12" fmla="*/ 20 w 20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79" name="Freeform 93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7851775" y="3695700"/>
              <a:ext cx="1588" cy="57150"/>
            </a:xfrm>
            <a:custGeom>
              <a:avLst/>
              <a:gdLst>
                <a:gd name="T0" fmla="*/ 0 w 6"/>
                <a:gd name="T1" fmla="*/ 24 h 24"/>
                <a:gd name="T2" fmla="*/ 0 w 6"/>
                <a:gd name="T3" fmla="*/ 0 h 24"/>
                <a:gd name="T4" fmla="*/ 6 w 6"/>
                <a:gd name="T5" fmla="*/ 12 h 24"/>
                <a:gd name="T6" fmla="*/ 0 w 6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grpSp>
          <p:nvGrpSpPr>
            <p:cNvPr id="80" name="Group 94"/>
            <p:cNvGrpSpPr>
              <a:grpSpLocks/>
            </p:cNvGrpSpPr>
            <p:nvPr>
              <p:custDataLst>
                <p:tags r:id="rId74"/>
              </p:custDataLst>
            </p:nvPr>
          </p:nvGrpSpPr>
          <p:grpSpPr bwMode="auto">
            <a:xfrm>
              <a:off x="7726363" y="3367088"/>
              <a:ext cx="163512" cy="114300"/>
              <a:chOff x="5379" y="2466"/>
              <a:chExt cx="122" cy="71"/>
            </a:xfrm>
          </p:grpSpPr>
          <p:sp>
            <p:nvSpPr>
              <p:cNvPr id="528" name="Freeform 95"/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19 w 19"/>
                  <a:gd name="T1" fmla="*/ 25 h 25"/>
                  <a:gd name="T2" fmla="*/ 18 w 19"/>
                  <a:gd name="T3" fmla="*/ 20 h 25"/>
                  <a:gd name="T4" fmla="*/ 17 w 19"/>
                  <a:gd name="T5" fmla="*/ 12 h 25"/>
                  <a:gd name="T6" fmla="*/ 16 w 19"/>
                  <a:gd name="T7" fmla="*/ 9 h 25"/>
                  <a:gd name="T8" fmla="*/ 17 w 19"/>
                  <a:gd name="T9" fmla="*/ 6 h 25"/>
                  <a:gd name="T10" fmla="*/ 17 w 19"/>
                  <a:gd name="T11" fmla="*/ 3 h 25"/>
                  <a:gd name="T12" fmla="*/ 19 w 19"/>
                  <a:gd name="T13" fmla="*/ 0 h 25"/>
                  <a:gd name="T14" fmla="*/ 0 w 19"/>
                  <a:gd name="T15" fmla="*/ 0 h 25"/>
                  <a:gd name="T16" fmla="*/ 1 w 19"/>
                  <a:gd name="T17" fmla="*/ 7 h 25"/>
                  <a:gd name="T18" fmla="*/ 5 w 19"/>
                  <a:gd name="T19" fmla="*/ 15 h 25"/>
                  <a:gd name="T20" fmla="*/ 7 w 19"/>
                  <a:gd name="T21" fmla="*/ 19 h 25"/>
                  <a:gd name="T22" fmla="*/ 11 w 19"/>
                  <a:gd name="T23" fmla="*/ 23 h 25"/>
                  <a:gd name="T24" fmla="*/ 15 w 19"/>
                  <a:gd name="T25" fmla="*/ 25 h 25"/>
                  <a:gd name="T26" fmla="*/ 19 w 19"/>
                  <a:gd name="T27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29" name="Freeform 96"/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26 w 26"/>
                  <a:gd name="T1" fmla="*/ 18 h 18"/>
                  <a:gd name="T2" fmla="*/ 7 w 26"/>
                  <a:gd name="T3" fmla="*/ 18 h 18"/>
                  <a:gd name="T4" fmla="*/ 3 w 26"/>
                  <a:gd name="T5" fmla="*/ 9 h 18"/>
                  <a:gd name="T6" fmla="*/ 0 w 26"/>
                  <a:gd name="T7" fmla="*/ 0 h 18"/>
                  <a:gd name="T8" fmla="*/ 6 w 26"/>
                  <a:gd name="T9" fmla="*/ 2 h 18"/>
                  <a:gd name="T10" fmla="*/ 13 w 26"/>
                  <a:gd name="T11" fmla="*/ 6 h 18"/>
                  <a:gd name="T12" fmla="*/ 20 w 26"/>
                  <a:gd name="T13" fmla="*/ 12 h 18"/>
                  <a:gd name="T14" fmla="*/ 26 w 26"/>
                  <a:gd name="T1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30" name="Freeform 97"/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18 h 18"/>
                  <a:gd name="T2" fmla="*/ 13 w 13"/>
                  <a:gd name="T3" fmla="*/ 0 h 18"/>
                  <a:gd name="T4" fmla="*/ 0 w 13"/>
                  <a:gd name="T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31" name="Freeform 98"/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24 h 24"/>
                  <a:gd name="T2" fmla="*/ 3 w 26"/>
                  <a:gd name="T3" fmla="*/ 23 h 24"/>
                  <a:gd name="T4" fmla="*/ 7 w 26"/>
                  <a:gd name="T5" fmla="*/ 22 h 24"/>
                  <a:gd name="T6" fmla="*/ 11 w 26"/>
                  <a:gd name="T7" fmla="*/ 19 h 24"/>
                  <a:gd name="T8" fmla="*/ 16 w 26"/>
                  <a:gd name="T9" fmla="*/ 16 h 24"/>
                  <a:gd name="T10" fmla="*/ 20 w 26"/>
                  <a:gd name="T11" fmla="*/ 13 h 24"/>
                  <a:gd name="T12" fmla="*/ 23 w 26"/>
                  <a:gd name="T13" fmla="*/ 9 h 24"/>
                  <a:gd name="T14" fmla="*/ 25 w 26"/>
                  <a:gd name="T15" fmla="*/ 4 h 24"/>
                  <a:gd name="T16" fmla="*/ 26 w 26"/>
                  <a:gd name="T17" fmla="*/ 0 h 24"/>
                  <a:gd name="T18" fmla="*/ 0 w 26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32" name="Freeform 99"/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6 h 6"/>
                  <a:gd name="T2" fmla="*/ 10 w 34"/>
                  <a:gd name="T3" fmla="*/ 6 h 6"/>
                  <a:gd name="T4" fmla="*/ 17 w 34"/>
                  <a:gd name="T5" fmla="*/ 5 h 6"/>
                  <a:gd name="T6" fmla="*/ 25 w 34"/>
                  <a:gd name="T7" fmla="*/ 4 h 6"/>
                  <a:gd name="T8" fmla="*/ 34 w 34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33" name="Line 100"/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34" name="Freeform 101"/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19 h 19"/>
                  <a:gd name="T1" fmla="*/ 9 h 19"/>
                  <a:gd name="T2" fmla="*/ 0 h 1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35" name="Line 102"/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36" name="Freeform 103"/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14 w 14"/>
                  <a:gd name="T1" fmla="*/ 0 h 6"/>
                  <a:gd name="T2" fmla="*/ 7 w 14"/>
                  <a:gd name="T3" fmla="*/ 3 h 6"/>
                  <a:gd name="T4" fmla="*/ 0 w 14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</p:grpSp>
        <p:sp>
          <p:nvSpPr>
            <p:cNvPr id="81" name="Freeform 104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6310313" y="3228975"/>
              <a:ext cx="6350" cy="57150"/>
            </a:xfrm>
            <a:custGeom>
              <a:avLst/>
              <a:gdLst>
                <a:gd name="T0" fmla="*/ 13 w 26"/>
                <a:gd name="T1" fmla="*/ 111 h 111"/>
                <a:gd name="T2" fmla="*/ 9 w 26"/>
                <a:gd name="T3" fmla="*/ 103 h 111"/>
                <a:gd name="T4" fmla="*/ 4 w 26"/>
                <a:gd name="T5" fmla="*/ 95 h 111"/>
                <a:gd name="T6" fmla="*/ 2 w 26"/>
                <a:gd name="T7" fmla="*/ 91 h 111"/>
                <a:gd name="T8" fmla="*/ 1 w 26"/>
                <a:gd name="T9" fmla="*/ 87 h 111"/>
                <a:gd name="T10" fmla="*/ 0 w 26"/>
                <a:gd name="T11" fmla="*/ 80 h 111"/>
                <a:gd name="T12" fmla="*/ 0 w 26"/>
                <a:gd name="T13" fmla="*/ 74 h 111"/>
                <a:gd name="T14" fmla="*/ 0 w 26"/>
                <a:gd name="T15" fmla="*/ 61 h 111"/>
                <a:gd name="T16" fmla="*/ 1 w 26"/>
                <a:gd name="T17" fmla="*/ 51 h 111"/>
                <a:gd name="T18" fmla="*/ 3 w 26"/>
                <a:gd name="T19" fmla="*/ 41 h 111"/>
                <a:gd name="T20" fmla="*/ 5 w 26"/>
                <a:gd name="T21" fmla="*/ 33 h 111"/>
                <a:gd name="T22" fmla="*/ 9 w 26"/>
                <a:gd name="T23" fmla="*/ 24 h 111"/>
                <a:gd name="T24" fmla="*/ 14 w 26"/>
                <a:gd name="T25" fmla="*/ 17 h 111"/>
                <a:gd name="T26" fmla="*/ 20 w 26"/>
                <a:gd name="T27" fmla="*/ 9 h 111"/>
                <a:gd name="T28" fmla="*/ 26 w 26"/>
                <a:gd name="T29" fmla="*/ 0 h 111"/>
                <a:gd name="T30" fmla="*/ 26 w 26"/>
                <a:gd name="T31" fmla="*/ 6 h 111"/>
                <a:gd name="T32" fmla="*/ 26 w 26"/>
                <a:gd name="T33" fmla="*/ 13 h 111"/>
                <a:gd name="T34" fmla="*/ 26 w 26"/>
                <a:gd name="T35" fmla="*/ 22 h 111"/>
                <a:gd name="T36" fmla="*/ 26 w 26"/>
                <a:gd name="T37" fmla="*/ 32 h 111"/>
                <a:gd name="T38" fmla="*/ 25 w 26"/>
                <a:gd name="T39" fmla="*/ 44 h 111"/>
                <a:gd name="T40" fmla="*/ 22 w 26"/>
                <a:gd name="T41" fmla="*/ 56 h 111"/>
                <a:gd name="T42" fmla="*/ 18 w 26"/>
                <a:gd name="T43" fmla="*/ 67 h 111"/>
                <a:gd name="T44" fmla="*/ 13 w 26"/>
                <a:gd name="T45" fmla="*/ 80 h 111"/>
                <a:gd name="T46" fmla="*/ 13 w 26"/>
                <a:gd name="T4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82" name="Freeform 105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3209925" y="5368925"/>
              <a:ext cx="53975" cy="58738"/>
            </a:xfrm>
            <a:custGeom>
              <a:avLst/>
              <a:gdLst>
                <a:gd name="T0" fmla="*/ 0 w 126"/>
                <a:gd name="T1" fmla="*/ 19 h 62"/>
                <a:gd name="T2" fmla="*/ 11 w 126"/>
                <a:gd name="T3" fmla="*/ 20 h 62"/>
                <a:gd name="T4" fmla="*/ 21 w 126"/>
                <a:gd name="T5" fmla="*/ 21 h 62"/>
                <a:gd name="T6" fmla="*/ 29 w 126"/>
                <a:gd name="T7" fmla="*/ 23 h 62"/>
                <a:gd name="T8" fmla="*/ 36 w 126"/>
                <a:gd name="T9" fmla="*/ 26 h 62"/>
                <a:gd name="T10" fmla="*/ 50 w 126"/>
                <a:gd name="T11" fmla="*/ 33 h 62"/>
                <a:gd name="T12" fmla="*/ 61 w 126"/>
                <a:gd name="T13" fmla="*/ 40 h 62"/>
                <a:gd name="T14" fmla="*/ 70 w 126"/>
                <a:gd name="T15" fmla="*/ 48 h 62"/>
                <a:gd name="T16" fmla="*/ 79 w 126"/>
                <a:gd name="T17" fmla="*/ 55 h 62"/>
                <a:gd name="T18" fmla="*/ 84 w 126"/>
                <a:gd name="T19" fmla="*/ 58 h 62"/>
                <a:gd name="T20" fmla="*/ 89 w 126"/>
                <a:gd name="T21" fmla="*/ 60 h 62"/>
                <a:gd name="T22" fmla="*/ 95 w 126"/>
                <a:gd name="T23" fmla="*/ 61 h 62"/>
                <a:gd name="T24" fmla="*/ 100 w 126"/>
                <a:gd name="T25" fmla="*/ 62 h 62"/>
                <a:gd name="T26" fmla="*/ 105 w 126"/>
                <a:gd name="T27" fmla="*/ 61 h 62"/>
                <a:gd name="T28" fmla="*/ 109 w 126"/>
                <a:gd name="T29" fmla="*/ 60 h 62"/>
                <a:gd name="T30" fmla="*/ 113 w 126"/>
                <a:gd name="T31" fmla="*/ 58 h 62"/>
                <a:gd name="T32" fmla="*/ 117 w 126"/>
                <a:gd name="T33" fmla="*/ 56 h 62"/>
                <a:gd name="T34" fmla="*/ 122 w 126"/>
                <a:gd name="T35" fmla="*/ 51 h 62"/>
                <a:gd name="T36" fmla="*/ 126 w 126"/>
                <a:gd name="T37" fmla="*/ 49 h 62"/>
                <a:gd name="T38" fmla="*/ 110 w 126"/>
                <a:gd name="T39" fmla="*/ 33 h 62"/>
                <a:gd name="T40" fmla="*/ 96 w 126"/>
                <a:gd name="T41" fmla="*/ 21 h 62"/>
                <a:gd name="T42" fmla="*/ 89 w 126"/>
                <a:gd name="T43" fmla="*/ 15 h 62"/>
                <a:gd name="T44" fmla="*/ 81 w 126"/>
                <a:gd name="T45" fmla="*/ 9 h 62"/>
                <a:gd name="T46" fmla="*/ 72 w 126"/>
                <a:gd name="T47" fmla="*/ 5 h 62"/>
                <a:gd name="T48" fmla="*/ 61 w 126"/>
                <a:gd name="T49" fmla="*/ 0 h 62"/>
                <a:gd name="T50" fmla="*/ 0 w 126"/>
                <a:gd name="T51" fmla="*/ 0 h 62"/>
                <a:gd name="T52" fmla="*/ 0 w 126"/>
                <a:gd name="T53" fmla="*/ 9 h 62"/>
                <a:gd name="T54" fmla="*/ 0 w 126"/>
                <a:gd name="T55" fmla="*/ 1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83" name="Freeform 106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5511800" y="5207000"/>
              <a:ext cx="30163" cy="55563"/>
            </a:xfrm>
            <a:custGeom>
              <a:avLst/>
              <a:gdLst>
                <a:gd name="T0" fmla="*/ 0 w 66"/>
                <a:gd name="T1" fmla="*/ 0 h 44"/>
                <a:gd name="T2" fmla="*/ 13 w 66"/>
                <a:gd name="T3" fmla="*/ 1 h 44"/>
                <a:gd name="T4" fmla="*/ 23 w 66"/>
                <a:gd name="T5" fmla="*/ 2 h 44"/>
                <a:gd name="T6" fmla="*/ 32 w 66"/>
                <a:gd name="T7" fmla="*/ 4 h 44"/>
                <a:gd name="T8" fmla="*/ 38 w 66"/>
                <a:gd name="T9" fmla="*/ 7 h 44"/>
                <a:gd name="T10" fmla="*/ 44 w 66"/>
                <a:gd name="T11" fmla="*/ 9 h 44"/>
                <a:gd name="T12" fmla="*/ 50 w 66"/>
                <a:gd name="T13" fmla="*/ 11 h 44"/>
                <a:gd name="T14" fmla="*/ 57 w 66"/>
                <a:gd name="T15" fmla="*/ 12 h 44"/>
                <a:gd name="T16" fmla="*/ 66 w 66"/>
                <a:gd name="T17" fmla="*/ 13 h 44"/>
                <a:gd name="T18" fmla="*/ 65 w 66"/>
                <a:gd name="T19" fmla="*/ 17 h 44"/>
                <a:gd name="T20" fmla="*/ 62 w 66"/>
                <a:gd name="T21" fmla="*/ 21 h 44"/>
                <a:gd name="T22" fmla="*/ 60 w 66"/>
                <a:gd name="T23" fmla="*/ 25 h 44"/>
                <a:gd name="T24" fmla="*/ 57 w 66"/>
                <a:gd name="T25" fmla="*/ 28 h 44"/>
                <a:gd name="T26" fmla="*/ 49 w 66"/>
                <a:gd name="T27" fmla="*/ 34 h 44"/>
                <a:gd name="T28" fmla="*/ 40 w 66"/>
                <a:gd name="T29" fmla="*/ 39 h 44"/>
                <a:gd name="T30" fmla="*/ 31 w 66"/>
                <a:gd name="T31" fmla="*/ 42 h 44"/>
                <a:gd name="T32" fmla="*/ 21 w 66"/>
                <a:gd name="T33" fmla="*/ 44 h 44"/>
                <a:gd name="T34" fmla="*/ 10 w 66"/>
                <a:gd name="T35" fmla="*/ 44 h 44"/>
                <a:gd name="T36" fmla="*/ 0 w 66"/>
                <a:gd name="T37" fmla="*/ 43 h 44"/>
                <a:gd name="T38" fmla="*/ 0 w 66"/>
                <a:gd name="T39" fmla="*/ 31 h 44"/>
                <a:gd name="T40" fmla="*/ 0 w 66"/>
                <a:gd name="T41" fmla="*/ 22 h 44"/>
                <a:gd name="T42" fmla="*/ 0 w 66"/>
                <a:gd name="T43" fmla="*/ 12 h 44"/>
                <a:gd name="T44" fmla="*/ 0 w 66"/>
                <a:gd name="T45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84" name="Freeform 107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7666038" y="1978025"/>
              <a:ext cx="20637" cy="57150"/>
            </a:xfrm>
            <a:custGeom>
              <a:avLst/>
              <a:gdLst>
                <a:gd name="T0" fmla="*/ 46 w 46"/>
                <a:gd name="T1" fmla="*/ 0 h 16"/>
                <a:gd name="T2" fmla="*/ 40 w 46"/>
                <a:gd name="T3" fmla="*/ 7 h 16"/>
                <a:gd name="T4" fmla="*/ 35 w 46"/>
                <a:gd name="T5" fmla="*/ 13 h 16"/>
                <a:gd name="T6" fmla="*/ 31 w 46"/>
                <a:gd name="T7" fmla="*/ 14 h 16"/>
                <a:gd name="T8" fmla="*/ 29 w 46"/>
                <a:gd name="T9" fmla="*/ 15 h 16"/>
                <a:gd name="T10" fmla="*/ 26 w 46"/>
                <a:gd name="T11" fmla="*/ 16 h 16"/>
                <a:gd name="T12" fmla="*/ 23 w 46"/>
                <a:gd name="T13" fmla="*/ 16 h 16"/>
                <a:gd name="T14" fmla="*/ 16 w 46"/>
                <a:gd name="T15" fmla="*/ 14 h 16"/>
                <a:gd name="T16" fmla="*/ 11 w 46"/>
                <a:gd name="T17" fmla="*/ 11 h 16"/>
                <a:gd name="T18" fmla="*/ 5 w 46"/>
                <a:gd name="T19" fmla="*/ 6 h 16"/>
                <a:gd name="T20" fmla="*/ 0 w 46"/>
                <a:gd name="T21" fmla="*/ 0 h 16"/>
                <a:gd name="T22" fmla="*/ 46 w 46"/>
                <a:gd name="T2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85" name="Freeform 108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7842250" y="2011363"/>
              <a:ext cx="15875" cy="57150"/>
            </a:xfrm>
            <a:custGeom>
              <a:avLst/>
              <a:gdLst>
                <a:gd name="T0" fmla="*/ 39 w 39"/>
                <a:gd name="T1" fmla="*/ 25 h 26"/>
                <a:gd name="T2" fmla="*/ 36 w 39"/>
                <a:gd name="T3" fmla="*/ 26 h 26"/>
                <a:gd name="T4" fmla="*/ 32 w 39"/>
                <a:gd name="T5" fmla="*/ 26 h 26"/>
                <a:gd name="T6" fmla="*/ 28 w 39"/>
                <a:gd name="T7" fmla="*/ 26 h 26"/>
                <a:gd name="T8" fmla="*/ 25 w 39"/>
                <a:gd name="T9" fmla="*/ 25 h 26"/>
                <a:gd name="T10" fmla="*/ 18 w 39"/>
                <a:gd name="T11" fmla="*/ 22 h 26"/>
                <a:gd name="T12" fmla="*/ 12 w 39"/>
                <a:gd name="T13" fmla="*/ 18 h 26"/>
                <a:gd name="T14" fmla="*/ 7 w 39"/>
                <a:gd name="T15" fmla="*/ 13 h 26"/>
                <a:gd name="T16" fmla="*/ 3 w 39"/>
                <a:gd name="T17" fmla="*/ 7 h 26"/>
                <a:gd name="T18" fmla="*/ 1 w 39"/>
                <a:gd name="T19" fmla="*/ 3 h 26"/>
                <a:gd name="T20" fmla="*/ 0 w 39"/>
                <a:gd name="T21" fmla="*/ 0 h 26"/>
                <a:gd name="T22" fmla="*/ 11 w 39"/>
                <a:gd name="T23" fmla="*/ 6 h 26"/>
                <a:gd name="T24" fmla="*/ 22 w 39"/>
                <a:gd name="T25" fmla="*/ 13 h 26"/>
                <a:gd name="T26" fmla="*/ 33 w 39"/>
                <a:gd name="T27" fmla="*/ 20 h 26"/>
                <a:gd name="T28" fmla="*/ 39 w 39"/>
                <a:gd name="T29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86" name="Freeform 109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7291388" y="2241550"/>
              <a:ext cx="4762" cy="58738"/>
            </a:xfrm>
            <a:custGeom>
              <a:avLst/>
              <a:gdLst>
                <a:gd name="T0" fmla="*/ 11 w 11"/>
                <a:gd name="T1" fmla="*/ 0 h 25"/>
                <a:gd name="T2" fmla="*/ 11 w 11"/>
                <a:gd name="T3" fmla="*/ 5 h 25"/>
                <a:gd name="T4" fmla="*/ 10 w 11"/>
                <a:gd name="T5" fmla="*/ 12 h 25"/>
                <a:gd name="T6" fmla="*/ 9 w 11"/>
                <a:gd name="T7" fmla="*/ 20 h 25"/>
                <a:gd name="T8" fmla="*/ 4 w 11"/>
                <a:gd name="T9" fmla="*/ 25 h 25"/>
                <a:gd name="T10" fmla="*/ 2 w 11"/>
                <a:gd name="T11" fmla="*/ 23 h 25"/>
                <a:gd name="T12" fmla="*/ 1 w 11"/>
                <a:gd name="T13" fmla="*/ 20 h 25"/>
                <a:gd name="T14" fmla="*/ 0 w 11"/>
                <a:gd name="T15" fmla="*/ 15 h 25"/>
                <a:gd name="T16" fmla="*/ 0 w 11"/>
                <a:gd name="T17" fmla="*/ 12 h 25"/>
                <a:gd name="T18" fmla="*/ 1 w 11"/>
                <a:gd name="T19" fmla="*/ 9 h 25"/>
                <a:gd name="T20" fmla="*/ 3 w 11"/>
                <a:gd name="T21" fmla="*/ 5 h 25"/>
                <a:gd name="T22" fmla="*/ 6 w 11"/>
                <a:gd name="T23" fmla="*/ 2 h 25"/>
                <a:gd name="T24" fmla="*/ 11 w 11"/>
                <a:gd name="T2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87" name="Freeform 110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7105650" y="2803525"/>
              <a:ext cx="14288" cy="58738"/>
            </a:xfrm>
            <a:custGeom>
              <a:avLst/>
              <a:gdLst>
                <a:gd name="T0" fmla="*/ 20 w 20"/>
                <a:gd name="T1" fmla="*/ 0 h 31"/>
                <a:gd name="T2" fmla="*/ 16 w 20"/>
                <a:gd name="T3" fmla="*/ 12 h 31"/>
                <a:gd name="T4" fmla="*/ 10 w 20"/>
                <a:gd name="T5" fmla="*/ 20 h 31"/>
                <a:gd name="T6" fmla="*/ 5 w 20"/>
                <a:gd name="T7" fmla="*/ 26 h 31"/>
                <a:gd name="T8" fmla="*/ 0 w 20"/>
                <a:gd name="T9" fmla="*/ 31 h 31"/>
                <a:gd name="T10" fmla="*/ 0 w 20"/>
                <a:gd name="T11" fmla="*/ 25 h 31"/>
                <a:gd name="T12" fmla="*/ 1 w 20"/>
                <a:gd name="T13" fmla="*/ 19 h 31"/>
                <a:gd name="T14" fmla="*/ 2 w 20"/>
                <a:gd name="T15" fmla="*/ 13 h 31"/>
                <a:gd name="T16" fmla="*/ 5 w 20"/>
                <a:gd name="T17" fmla="*/ 9 h 31"/>
                <a:gd name="T18" fmla="*/ 8 w 20"/>
                <a:gd name="T19" fmla="*/ 6 h 31"/>
                <a:gd name="T20" fmla="*/ 11 w 20"/>
                <a:gd name="T21" fmla="*/ 3 h 31"/>
                <a:gd name="T22" fmla="*/ 16 w 20"/>
                <a:gd name="T23" fmla="*/ 0 h 31"/>
                <a:gd name="T24" fmla="*/ 20 w 20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88" name="Freeform 111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7123113" y="2738438"/>
              <a:ext cx="15875" cy="57150"/>
            </a:xfrm>
            <a:custGeom>
              <a:avLst/>
              <a:gdLst>
                <a:gd name="T0" fmla="*/ 13 w 26"/>
                <a:gd name="T1" fmla="*/ 37 h 37"/>
                <a:gd name="T2" fmla="*/ 0 w 26"/>
                <a:gd name="T3" fmla="*/ 12 h 37"/>
                <a:gd name="T4" fmla="*/ 6 w 26"/>
                <a:gd name="T5" fmla="*/ 7 h 37"/>
                <a:gd name="T6" fmla="*/ 13 w 26"/>
                <a:gd name="T7" fmla="*/ 4 h 37"/>
                <a:gd name="T8" fmla="*/ 21 w 26"/>
                <a:gd name="T9" fmla="*/ 1 h 37"/>
                <a:gd name="T10" fmla="*/ 26 w 26"/>
                <a:gd name="T11" fmla="*/ 0 h 37"/>
                <a:gd name="T12" fmla="*/ 26 w 26"/>
                <a:gd name="T13" fmla="*/ 6 h 37"/>
                <a:gd name="T14" fmla="*/ 25 w 26"/>
                <a:gd name="T15" fmla="*/ 11 h 37"/>
                <a:gd name="T16" fmla="*/ 24 w 26"/>
                <a:gd name="T17" fmla="*/ 17 h 37"/>
                <a:gd name="T18" fmla="*/ 23 w 26"/>
                <a:gd name="T19" fmla="*/ 21 h 37"/>
                <a:gd name="T20" fmla="*/ 18 w 26"/>
                <a:gd name="T21" fmla="*/ 29 h 37"/>
                <a:gd name="T22" fmla="*/ 13 w 26"/>
                <a:gd name="T23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89" name="Freeform 112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7011988" y="2587625"/>
              <a:ext cx="1587" cy="60325"/>
            </a:xfrm>
            <a:custGeom>
              <a:avLst/>
              <a:gdLst>
                <a:gd name="T0" fmla="*/ 0 w 7"/>
                <a:gd name="T1" fmla="*/ 18 h 18"/>
                <a:gd name="T2" fmla="*/ 0 w 7"/>
                <a:gd name="T3" fmla="*/ 0 h 18"/>
                <a:gd name="T4" fmla="*/ 7 w 7"/>
                <a:gd name="T5" fmla="*/ 12 h 18"/>
                <a:gd name="T6" fmla="*/ 0 w 7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90" name="Freeform 113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3863975" y="1714500"/>
              <a:ext cx="9525" cy="57150"/>
            </a:xfrm>
            <a:custGeom>
              <a:avLst/>
              <a:gdLst>
                <a:gd name="T0" fmla="*/ 0 w 33"/>
                <a:gd name="T1" fmla="*/ 12 h 31"/>
                <a:gd name="T2" fmla="*/ 19 w 33"/>
                <a:gd name="T3" fmla="*/ 0 h 31"/>
                <a:gd name="T4" fmla="*/ 24 w 33"/>
                <a:gd name="T5" fmla="*/ 5 h 31"/>
                <a:gd name="T6" fmla="*/ 28 w 33"/>
                <a:gd name="T7" fmla="*/ 12 h 31"/>
                <a:gd name="T8" fmla="*/ 32 w 33"/>
                <a:gd name="T9" fmla="*/ 22 h 31"/>
                <a:gd name="T10" fmla="*/ 33 w 33"/>
                <a:gd name="T11" fmla="*/ 31 h 31"/>
                <a:gd name="T12" fmla="*/ 27 w 33"/>
                <a:gd name="T13" fmla="*/ 30 h 31"/>
                <a:gd name="T14" fmla="*/ 22 w 33"/>
                <a:gd name="T15" fmla="*/ 28 h 31"/>
                <a:gd name="T16" fmla="*/ 16 w 33"/>
                <a:gd name="T17" fmla="*/ 25 h 31"/>
                <a:gd name="T18" fmla="*/ 11 w 33"/>
                <a:gd name="T19" fmla="*/ 22 h 31"/>
                <a:gd name="T20" fmla="*/ 3 w 33"/>
                <a:gd name="T21" fmla="*/ 15 h 31"/>
                <a:gd name="T22" fmla="*/ 0 w 33"/>
                <a:gd name="T23" fmla="*/ 1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91" name="Freeform 114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3849688" y="1482725"/>
              <a:ext cx="3175" cy="57150"/>
            </a:xfrm>
            <a:custGeom>
              <a:avLst/>
              <a:gdLst>
                <a:gd name="T0" fmla="*/ 14 w 14"/>
                <a:gd name="T1" fmla="*/ 0 h 6"/>
                <a:gd name="T2" fmla="*/ 0 w 14"/>
                <a:gd name="T3" fmla="*/ 6 h 6"/>
                <a:gd name="T4" fmla="*/ 14 w 14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92" name="Freeform 115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5330825" y="3260725"/>
              <a:ext cx="25400" cy="55563"/>
            </a:xfrm>
            <a:custGeom>
              <a:avLst/>
              <a:gdLst>
                <a:gd name="T0" fmla="*/ 59 w 59"/>
                <a:gd name="T1" fmla="*/ 6 h 31"/>
                <a:gd name="T2" fmla="*/ 57 w 59"/>
                <a:gd name="T3" fmla="*/ 11 h 31"/>
                <a:gd name="T4" fmla="*/ 53 w 59"/>
                <a:gd name="T5" fmla="*/ 15 h 31"/>
                <a:gd name="T6" fmla="*/ 49 w 59"/>
                <a:gd name="T7" fmla="*/ 19 h 31"/>
                <a:gd name="T8" fmla="*/ 45 w 59"/>
                <a:gd name="T9" fmla="*/ 24 h 31"/>
                <a:gd name="T10" fmla="*/ 40 w 59"/>
                <a:gd name="T11" fmla="*/ 27 h 31"/>
                <a:gd name="T12" fmla="*/ 36 w 59"/>
                <a:gd name="T13" fmla="*/ 29 h 31"/>
                <a:gd name="T14" fmla="*/ 30 w 59"/>
                <a:gd name="T15" fmla="*/ 31 h 31"/>
                <a:gd name="T16" fmla="*/ 26 w 59"/>
                <a:gd name="T17" fmla="*/ 31 h 31"/>
                <a:gd name="T18" fmla="*/ 21 w 59"/>
                <a:gd name="T19" fmla="*/ 31 h 31"/>
                <a:gd name="T20" fmla="*/ 17 w 59"/>
                <a:gd name="T21" fmla="*/ 30 h 31"/>
                <a:gd name="T22" fmla="*/ 14 w 59"/>
                <a:gd name="T23" fmla="*/ 29 h 31"/>
                <a:gd name="T24" fmla="*/ 11 w 59"/>
                <a:gd name="T25" fmla="*/ 27 h 31"/>
                <a:gd name="T26" fmla="*/ 4 w 59"/>
                <a:gd name="T27" fmla="*/ 20 h 31"/>
                <a:gd name="T28" fmla="*/ 0 w 59"/>
                <a:gd name="T29" fmla="*/ 12 h 31"/>
                <a:gd name="T30" fmla="*/ 1 w 59"/>
                <a:gd name="T31" fmla="*/ 9 h 31"/>
                <a:gd name="T32" fmla="*/ 3 w 59"/>
                <a:gd name="T33" fmla="*/ 6 h 31"/>
                <a:gd name="T34" fmla="*/ 5 w 59"/>
                <a:gd name="T35" fmla="*/ 4 h 31"/>
                <a:gd name="T36" fmla="*/ 8 w 59"/>
                <a:gd name="T37" fmla="*/ 3 h 31"/>
                <a:gd name="T38" fmla="*/ 16 w 59"/>
                <a:gd name="T39" fmla="*/ 1 h 31"/>
                <a:gd name="T40" fmla="*/ 24 w 59"/>
                <a:gd name="T41" fmla="*/ 0 h 31"/>
                <a:gd name="T42" fmla="*/ 34 w 59"/>
                <a:gd name="T43" fmla="*/ 0 h 31"/>
                <a:gd name="T44" fmla="*/ 42 w 59"/>
                <a:gd name="T45" fmla="*/ 2 h 31"/>
                <a:gd name="T46" fmla="*/ 51 w 59"/>
                <a:gd name="T47" fmla="*/ 4 h 31"/>
                <a:gd name="T48" fmla="*/ 59 w 59"/>
                <a:gd name="T4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93" name="Freeform 116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5033963" y="3122613"/>
              <a:ext cx="19050" cy="58737"/>
            </a:xfrm>
            <a:custGeom>
              <a:avLst/>
              <a:gdLst>
                <a:gd name="T0" fmla="*/ 14 w 47"/>
                <a:gd name="T1" fmla="*/ 0 h 68"/>
                <a:gd name="T2" fmla="*/ 8 w 47"/>
                <a:gd name="T3" fmla="*/ 10 h 68"/>
                <a:gd name="T4" fmla="*/ 4 w 47"/>
                <a:gd name="T5" fmla="*/ 19 h 68"/>
                <a:gd name="T6" fmla="*/ 2 w 47"/>
                <a:gd name="T7" fmla="*/ 28 h 68"/>
                <a:gd name="T8" fmla="*/ 0 w 47"/>
                <a:gd name="T9" fmla="*/ 37 h 68"/>
                <a:gd name="T10" fmla="*/ 0 w 47"/>
                <a:gd name="T11" fmla="*/ 42 h 68"/>
                <a:gd name="T12" fmla="*/ 2 w 47"/>
                <a:gd name="T13" fmla="*/ 47 h 68"/>
                <a:gd name="T14" fmla="*/ 3 w 47"/>
                <a:gd name="T15" fmla="*/ 51 h 68"/>
                <a:gd name="T16" fmla="*/ 5 w 47"/>
                <a:gd name="T17" fmla="*/ 55 h 68"/>
                <a:gd name="T18" fmla="*/ 7 w 47"/>
                <a:gd name="T19" fmla="*/ 58 h 68"/>
                <a:gd name="T20" fmla="*/ 9 w 47"/>
                <a:gd name="T21" fmla="*/ 60 h 68"/>
                <a:gd name="T22" fmla="*/ 13 w 47"/>
                <a:gd name="T23" fmla="*/ 62 h 68"/>
                <a:gd name="T24" fmla="*/ 16 w 47"/>
                <a:gd name="T25" fmla="*/ 64 h 68"/>
                <a:gd name="T26" fmla="*/ 22 w 47"/>
                <a:gd name="T27" fmla="*/ 67 h 68"/>
                <a:gd name="T28" fmla="*/ 31 w 47"/>
                <a:gd name="T29" fmla="*/ 68 h 68"/>
                <a:gd name="T30" fmla="*/ 39 w 47"/>
                <a:gd name="T31" fmla="*/ 68 h 68"/>
                <a:gd name="T32" fmla="*/ 47 w 47"/>
                <a:gd name="T33" fmla="*/ 68 h 68"/>
                <a:gd name="T34" fmla="*/ 41 w 47"/>
                <a:gd name="T35" fmla="*/ 58 h 68"/>
                <a:gd name="T36" fmla="*/ 38 w 47"/>
                <a:gd name="T37" fmla="*/ 48 h 68"/>
                <a:gd name="T38" fmla="*/ 36 w 47"/>
                <a:gd name="T39" fmla="*/ 43 h 68"/>
                <a:gd name="T40" fmla="*/ 35 w 47"/>
                <a:gd name="T41" fmla="*/ 38 h 68"/>
                <a:gd name="T42" fmla="*/ 33 w 47"/>
                <a:gd name="T43" fmla="*/ 31 h 68"/>
                <a:gd name="T44" fmla="*/ 33 w 47"/>
                <a:gd name="T45" fmla="*/ 25 h 68"/>
                <a:gd name="T46" fmla="*/ 24 w 47"/>
                <a:gd name="T47" fmla="*/ 13 h 68"/>
                <a:gd name="T48" fmla="*/ 14 w 47"/>
                <a:gd name="T4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grpSp>
          <p:nvGrpSpPr>
            <p:cNvPr id="94" name="Group 117"/>
            <p:cNvGrpSpPr>
              <a:grpSpLocks/>
            </p:cNvGrpSpPr>
            <p:nvPr>
              <p:custDataLst>
                <p:tags r:id="rId88"/>
              </p:custDataLst>
            </p:nvPr>
          </p:nvGrpSpPr>
          <p:grpSpPr bwMode="auto">
            <a:xfrm>
              <a:off x="5805488" y="3309938"/>
              <a:ext cx="46037" cy="374650"/>
              <a:chOff x="3950" y="2430"/>
              <a:chExt cx="36" cy="234"/>
            </a:xfrm>
          </p:grpSpPr>
          <p:sp>
            <p:nvSpPr>
              <p:cNvPr id="497" name="Freeform 118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20 h 20"/>
                  <a:gd name="T4" fmla="*/ 19 w 19"/>
                  <a:gd name="T5" fmla="*/ 14 h 20"/>
                  <a:gd name="T6" fmla="*/ 14 w 19"/>
                  <a:gd name="T7" fmla="*/ 8 h 20"/>
                  <a:gd name="T8" fmla="*/ 10 w 19"/>
                  <a:gd name="T9" fmla="*/ 4 h 20"/>
                  <a:gd name="T10" fmla="*/ 4 w 19"/>
                  <a:gd name="T11" fmla="*/ 1 h 20"/>
                  <a:gd name="T12" fmla="*/ 0 w 19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98" name="Freeform 119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13 w 19"/>
                  <a:gd name="T1" fmla="*/ 12 h 12"/>
                  <a:gd name="T2" fmla="*/ 19 w 19"/>
                  <a:gd name="T3" fmla="*/ 0 h 12"/>
                  <a:gd name="T4" fmla="*/ 0 w 19"/>
                  <a:gd name="T5" fmla="*/ 0 h 12"/>
                  <a:gd name="T6" fmla="*/ 13 w 19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99" name="Freeform 120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10 w 19"/>
                  <a:gd name="T2" fmla="*/ 19 w 19"/>
                  <a:gd name="T3" fmla="*/ 10 w 19"/>
                  <a:gd name="T4" fmla="*/ 0 w 1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9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00" name="Rectangle 121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01" name="Line 122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02" name="Freeform 123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6 w 6"/>
                  <a:gd name="T1" fmla="*/ 0 h 3"/>
                  <a:gd name="T2" fmla="*/ 5 w 6"/>
                  <a:gd name="T3" fmla="*/ 1 h 3"/>
                  <a:gd name="T4" fmla="*/ 3 w 6"/>
                  <a:gd name="T5" fmla="*/ 2 h 3"/>
                  <a:gd name="T6" fmla="*/ 1 w 6"/>
                  <a:gd name="T7" fmla="*/ 3 h 3"/>
                  <a:gd name="T8" fmla="*/ 0 w 6"/>
                  <a:gd name="T9" fmla="*/ 2 h 3"/>
                  <a:gd name="T10" fmla="*/ 0 w 6"/>
                  <a:gd name="T11" fmla="*/ 2 h 3"/>
                  <a:gd name="T12" fmla="*/ 0 w 6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03" name="Freeform 124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14 w 14"/>
                  <a:gd name="T1" fmla="*/ 0 h 24"/>
                  <a:gd name="T2" fmla="*/ 13 w 14"/>
                  <a:gd name="T3" fmla="*/ 5 h 24"/>
                  <a:gd name="T4" fmla="*/ 9 w 14"/>
                  <a:gd name="T5" fmla="*/ 12 h 24"/>
                  <a:gd name="T6" fmla="*/ 5 w 14"/>
                  <a:gd name="T7" fmla="*/ 19 h 24"/>
                  <a:gd name="T8" fmla="*/ 0 w 14"/>
                  <a:gd name="T9" fmla="*/ 24 h 24"/>
                  <a:gd name="T10" fmla="*/ 0 w 14"/>
                  <a:gd name="T11" fmla="*/ 16 h 24"/>
                  <a:gd name="T12" fmla="*/ 0 w 14"/>
                  <a:gd name="T13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04" name="Line 125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05" name="Freeform 126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13 w 13"/>
                  <a:gd name="T1" fmla="*/ 12 h 12"/>
                  <a:gd name="T2" fmla="*/ 0 w 13"/>
                  <a:gd name="T3" fmla="*/ 0 h 12"/>
                  <a:gd name="T4" fmla="*/ 13 w 13"/>
                  <a:gd name="T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06" name="Freeform 127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19 h 19"/>
                  <a:gd name="T4" fmla="*/ 0 w 7"/>
                  <a:gd name="T5" fmla="*/ 0 h 19"/>
                  <a:gd name="T6" fmla="*/ 7 w 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07" name="Line 128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08" name="Freeform 129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18 h 18"/>
                  <a:gd name="T2" fmla="*/ 8 w 8"/>
                  <a:gd name="T3" fmla="*/ 6 h 18"/>
                  <a:gd name="T4" fmla="*/ 0 w 8"/>
                  <a:gd name="T5" fmla="*/ 0 h 18"/>
                  <a:gd name="T6" fmla="*/ 0 w 8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09" name="Freeform 130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19 h 19"/>
                  <a:gd name="T4" fmla="*/ 6 w 6"/>
                  <a:gd name="T5" fmla="*/ 1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10" name="Freeform 131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19 h 19"/>
                  <a:gd name="T4" fmla="*/ 28 w 28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11" name="Freeform 132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15 w 15"/>
                  <a:gd name="T1" fmla="*/ 19 h 19"/>
                  <a:gd name="T2" fmla="*/ 8 w 15"/>
                  <a:gd name="T3" fmla="*/ 9 h 19"/>
                  <a:gd name="T4" fmla="*/ 0 w 15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12" name="Freeform 133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20 h 20"/>
                  <a:gd name="T4" fmla="*/ 19 w 19"/>
                  <a:gd name="T5" fmla="*/ 14 h 20"/>
                  <a:gd name="T6" fmla="*/ 14 w 19"/>
                  <a:gd name="T7" fmla="*/ 8 h 20"/>
                  <a:gd name="T8" fmla="*/ 10 w 19"/>
                  <a:gd name="T9" fmla="*/ 4 h 20"/>
                  <a:gd name="T10" fmla="*/ 4 w 19"/>
                  <a:gd name="T11" fmla="*/ 1 h 20"/>
                  <a:gd name="T12" fmla="*/ 0 w 19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13" name="Freeform 134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13 w 19"/>
                  <a:gd name="T1" fmla="*/ 12 h 12"/>
                  <a:gd name="T2" fmla="*/ 19 w 19"/>
                  <a:gd name="T3" fmla="*/ 0 h 12"/>
                  <a:gd name="T4" fmla="*/ 0 w 19"/>
                  <a:gd name="T5" fmla="*/ 0 h 12"/>
                  <a:gd name="T6" fmla="*/ 13 w 19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14" name="Freeform 135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10 w 19"/>
                  <a:gd name="T2" fmla="*/ 19 w 19"/>
                  <a:gd name="T3" fmla="*/ 10 w 19"/>
                  <a:gd name="T4" fmla="*/ 0 w 1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9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15" name="Rectangle 136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16" name="Line 137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17" name="Freeform 138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6 w 6"/>
                  <a:gd name="T1" fmla="*/ 0 h 3"/>
                  <a:gd name="T2" fmla="*/ 5 w 6"/>
                  <a:gd name="T3" fmla="*/ 1 h 3"/>
                  <a:gd name="T4" fmla="*/ 3 w 6"/>
                  <a:gd name="T5" fmla="*/ 2 h 3"/>
                  <a:gd name="T6" fmla="*/ 1 w 6"/>
                  <a:gd name="T7" fmla="*/ 3 h 3"/>
                  <a:gd name="T8" fmla="*/ 0 w 6"/>
                  <a:gd name="T9" fmla="*/ 2 h 3"/>
                  <a:gd name="T10" fmla="*/ 0 w 6"/>
                  <a:gd name="T11" fmla="*/ 2 h 3"/>
                  <a:gd name="T12" fmla="*/ 0 w 6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18" name="Freeform 139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14 w 14"/>
                  <a:gd name="T1" fmla="*/ 0 h 24"/>
                  <a:gd name="T2" fmla="*/ 13 w 14"/>
                  <a:gd name="T3" fmla="*/ 5 h 24"/>
                  <a:gd name="T4" fmla="*/ 9 w 14"/>
                  <a:gd name="T5" fmla="*/ 12 h 24"/>
                  <a:gd name="T6" fmla="*/ 5 w 14"/>
                  <a:gd name="T7" fmla="*/ 19 h 24"/>
                  <a:gd name="T8" fmla="*/ 0 w 14"/>
                  <a:gd name="T9" fmla="*/ 24 h 24"/>
                  <a:gd name="T10" fmla="*/ 0 w 14"/>
                  <a:gd name="T11" fmla="*/ 16 h 24"/>
                  <a:gd name="T12" fmla="*/ 0 w 14"/>
                  <a:gd name="T13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19" name="Line 140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20" name="Freeform 141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13 w 13"/>
                  <a:gd name="T1" fmla="*/ 12 h 12"/>
                  <a:gd name="T2" fmla="*/ 0 w 13"/>
                  <a:gd name="T3" fmla="*/ 0 h 12"/>
                  <a:gd name="T4" fmla="*/ 13 w 13"/>
                  <a:gd name="T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21" name="Freeform 142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19 h 19"/>
                  <a:gd name="T4" fmla="*/ 0 w 7"/>
                  <a:gd name="T5" fmla="*/ 0 h 19"/>
                  <a:gd name="T6" fmla="*/ 7 w 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22" name="Line 143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23" name="Freeform 144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18 h 18"/>
                  <a:gd name="T2" fmla="*/ 8 w 8"/>
                  <a:gd name="T3" fmla="*/ 6 h 18"/>
                  <a:gd name="T4" fmla="*/ 0 w 8"/>
                  <a:gd name="T5" fmla="*/ 0 h 18"/>
                  <a:gd name="T6" fmla="*/ 0 w 8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24" name="Freeform 145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19 h 19"/>
                  <a:gd name="T4" fmla="*/ 6 w 6"/>
                  <a:gd name="T5" fmla="*/ 1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25" name="Freeform 146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19 h 19"/>
                  <a:gd name="T4" fmla="*/ 28 w 28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26" name="Freeform 147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15 w 15"/>
                  <a:gd name="T1" fmla="*/ 19 h 19"/>
                  <a:gd name="T2" fmla="*/ 8 w 15"/>
                  <a:gd name="T3" fmla="*/ 9 h 19"/>
                  <a:gd name="T4" fmla="*/ 0 w 15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27" name="Freeform 148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13 w 20"/>
                  <a:gd name="T1" fmla="*/ 18 h 18"/>
                  <a:gd name="T2" fmla="*/ 20 w 20"/>
                  <a:gd name="T3" fmla="*/ 0 h 18"/>
                  <a:gd name="T4" fmla="*/ 0 w 20"/>
                  <a:gd name="T5" fmla="*/ 0 h 18"/>
                  <a:gd name="T6" fmla="*/ 13 w 20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</p:grpSp>
        <p:grpSp>
          <p:nvGrpSpPr>
            <p:cNvPr id="95" name="Group 149"/>
            <p:cNvGrpSpPr>
              <a:grpSpLocks/>
            </p:cNvGrpSpPr>
            <p:nvPr>
              <p:custDataLst>
                <p:tags r:id="rId89"/>
              </p:custDataLst>
            </p:nvPr>
          </p:nvGrpSpPr>
          <p:grpSpPr bwMode="auto">
            <a:xfrm>
              <a:off x="7870825" y="3810000"/>
              <a:ext cx="185738" cy="214313"/>
              <a:chOff x="5486" y="2743"/>
              <a:chExt cx="137" cy="132"/>
            </a:xfrm>
          </p:grpSpPr>
          <p:sp>
            <p:nvSpPr>
              <p:cNvPr id="488" name="Freeform 150"/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31 h 87"/>
                  <a:gd name="T2" fmla="*/ 0 w 40"/>
                  <a:gd name="T3" fmla="*/ 42 h 87"/>
                  <a:gd name="T4" fmla="*/ 2 w 40"/>
                  <a:gd name="T5" fmla="*/ 51 h 87"/>
                  <a:gd name="T6" fmla="*/ 5 w 40"/>
                  <a:gd name="T7" fmla="*/ 59 h 87"/>
                  <a:gd name="T8" fmla="*/ 10 w 40"/>
                  <a:gd name="T9" fmla="*/ 66 h 87"/>
                  <a:gd name="T10" fmla="*/ 15 w 40"/>
                  <a:gd name="T11" fmla="*/ 72 h 87"/>
                  <a:gd name="T12" fmla="*/ 22 w 40"/>
                  <a:gd name="T13" fmla="*/ 77 h 87"/>
                  <a:gd name="T14" fmla="*/ 31 w 40"/>
                  <a:gd name="T15" fmla="*/ 82 h 87"/>
                  <a:gd name="T16" fmla="*/ 40 w 40"/>
                  <a:gd name="T17" fmla="*/ 87 h 87"/>
                  <a:gd name="T18" fmla="*/ 35 w 40"/>
                  <a:gd name="T19" fmla="*/ 82 h 87"/>
                  <a:gd name="T20" fmla="*/ 32 w 40"/>
                  <a:gd name="T21" fmla="*/ 77 h 87"/>
                  <a:gd name="T22" fmla="*/ 29 w 40"/>
                  <a:gd name="T23" fmla="*/ 71 h 87"/>
                  <a:gd name="T24" fmla="*/ 26 w 40"/>
                  <a:gd name="T25" fmla="*/ 65 h 87"/>
                  <a:gd name="T26" fmla="*/ 22 w 40"/>
                  <a:gd name="T27" fmla="*/ 52 h 87"/>
                  <a:gd name="T28" fmla="*/ 20 w 40"/>
                  <a:gd name="T29" fmla="*/ 39 h 87"/>
                  <a:gd name="T30" fmla="*/ 18 w 40"/>
                  <a:gd name="T31" fmla="*/ 27 h 87"/>
                  <a:gd name="T32" fmla="*/ 13 w 40"/>
                  <a:gd name="T33" fmla="*/ 16 h 87"/>
                  <a:gd name="T34" fmla="*/ 11 w 40"/>
                  <a:gd name="T35" fmla="*/ 11 h 87"/>
                  <a:gd name="T36" fmla="*/ 8 w 40"/>
                  <a:gd name="T37" fmla="*/ 6 h 87"/>
                  <a:gd name="T38" fmla="*/ 4 w 40"/>
                  <a:gd name="T39" fmla="*/ 3 h 87"/>
                  <a:gd name="T40" fmla="*/ 0 w 40"/>
                  <a:gd name="T41" fmla="*/ 0 h 87"/>
                  <a:gd name="T42" fmla="*/ 0 w 40"/>
                  <a:gd name="T43" fmla="*/ 9 h 87"/>
                  <a:gd name="T44" fmla="*/ 0 w 40"/>
                  <a:gd name="T45" fmla="*/ 16 h 87"/>
                  <a:gd name="T46" fmla="*/ 0 w 40"/>
                  <a:gd name="T47" fmla="*/ 23 h 87"/>
                  <a:gd name="T48" fmla="*/ 0 w 40"/>
                  <a:gd name="T49" fmla="*/ 31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89" name="Freeform 151"/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31 h 37"/>
                  <a:gd name="T2" fmla="*/ 19 w 61"/>
                  <a:gd name="T3" fmla="*/ 32 h 37"/>
                  <a:gd name="T4" fmla="*/ 35 w 61"/>
                  <a:gd name="T5" fmla="*/ 34 h 37"/>
                  <a:gd name="T6" fmla="*/ 49 w 61"/>
                  <a:gd name="T7" fmla="*/ 36 h 37"/>
                  <a:gd name="T8" fmla="*/ 61 w 61"/>
                  <a:gd name="T9" fmla="*/ 37 h 37"/>
                  <a:gd name="T10" fmla="*/ 55 w 61"/>
                  <a:gd name="T11" fmla="*/ 29 h 37"/>
                  <a:gd name="T12" fmla="*/ 49 w 61"/>
                  <a:gd name="T13" fmla="*/ 22 h 37"/>
                  <a:gd name="T14" fmla="*/ 42 w 61"/>
                  <a:gd name="T15" fmla="*/ 17 h 37"/>
                  <a:gd name="T16" fmla="*/ 35 w 61"/>
                  <a:gd name="T17" fmla="*/ 12 h 37"/>
                  <a:gd name="T18" fmla="*/ 28 w 61"/>
                  <a:gd name="T19" fmla="*/ 9 h 37"/>
                  <a:gd name="T20" fmla="*/ 19 w 61"/>
                  <a:gd name="T21" fmla="*/ 5 h 37"/>
                  <a:gd name="T22" fmla="*/ 10 w 61"/>
                  <a:gd name="T23" fmla="*/ 2 h 37"/>
                  <a:gd name="T24" fmla="*/ 0 w 61"/>
                  <a:gd name="T25" fmla="*/ 0 h 37"/>
                  <a:gd name="T26" fmla="*/ 0 w 61"/>
                  <a:gd name="T27" fmla="*/ 3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90" name="Freeform 152"/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40 w 40"/>
                  <a:gd name="T1" fmla="*/ 30 h 30"/>
                  <a:gd name="T2" fmla="*/ 33 w 40"/>
                  <a:gd name="T3" fmla="*/ 28 h 30"/>
                  <a:gd name="T4" fmla="*/ 26 w 40"/>
                  <a:gd name="T5" fmla="*/ 25 h 30"/>
                  <a:gd name="T6" fmla="*/ 21 w 40"/>
                  <a:gd name="T7" fmla="*/ 22 h 30"/>
                  <a:gd name="T8" fmla="*/ 15 w 40"/>
                  <a:gd name="T9" fmla="*/ 19 h 30"/>
                  <a:gd name="T10" fmla="*/ 11 w 40"/>
                  <a:gd name="T11" fmla="*/ 16 h 30"/>
                  <a:gd name="T12" fmla="*/ 6 w 40"/>
                  <a:gd name="T13" fmla="*/ 11 h 30"/>
                  <a:gd name="T14" fmla="*/ 3 w 40"/>
                  <a:gd name="T15" fmla="*/ 6 h 30"/>
                  <a:gd name="T16" fmla="*/ 0 w 40"/>
                  <a:gd name="T17" fmla="*/ 0 h 30"/>
                  <a:gd name="T18" fmla="*/ 8 w 40"/>
                  <a:gd name="T19" fmla="*/ 2 h 30"/>
                  <a:gd name="T20" fmla="*/ 15 w 40"/>
                  <a:gd name="T21" fmla="*/ 6 h 30"/>
                  <a:gd name="T22" fmla="*/ 22 w 40"/>
                  <a:gd name="T23" fmla="*/ 10 h 30"/>
                  <a:gd name="T24" fmla="*/ 27 w 40"/>
                  <a:gd name="T25" fmla="*/ 15 h 30"/>
                  <a:gd name="T26" fmla="*/ 33 w 40"/>
                  <a:gd name="T27" fmla="*/ 19 h 30"/>
                  <a:gd name="T28" fmla="*/ 36 w 40"/>
                  <a:gd name="T29" fmla="*/ 23 h 30"/>
                  <a:gd name="T30" fmla="*/ 39 w 40"/>
                  <a:gd name="T31" fmla="*/ 27 h 30"/>
                  <a:gd name="T32" fmla="*/ 40 w 40"/>
                  <a:gd name="T33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91" name="Freeform 153"/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74 w 74"/>
                  <a:gd name="T1" fmla="*/ 80 h 80"/>
                  <a:gd name="T2" fmla="*/ 72 w 74"/>
                  <a:gd name="T3" fmla="*/ 73 h 80"/>
                  <a:gd name="T4" fmla="*/ 71 w 74"/>
                  <a:gd name="T5" fmla="*/ 66 h 80"/>
                  <a:gd name="T6" fmla="*/ 69 w 74"/>
                  <a:gd name="T7" fmla="*/ 60 h 80"/>
                  <a:gd name="T8" fmla="*/ 66 w 74"/>
                  <a:gd name="T9" fmla="*/ 53 h 80"/>
                  <a:gd name="T10" fmla="*/ 58 w 74"/>
                  <a:gd name="T11" fmla="*/ 42 h 80"/>
                  <a:gd name="T12" fmla="*/ 48 w 74"/>
                  <a:gd name="T13" fmla="*/ 33 h 80"/>
                  <a:gd name="T14" fmla="*/ 38 w 74"/>
                  <a:gd name="T15" fmla="*/ 25 h 80"/>
                  <a:gd name="T16" fmla="*/ 29 w 74"/>
                  <a:gd name="T17" fmla="*/ 17 h 80"/>
                  <a:gd name="T18" fmla="*/ 20 w 74"/>
                  <a:gd name="T19" fmla="*/ 9 h 80"/>
                  <a:gd name="T20" fmla="*/ 13 w 74"/>
                  <a:gd name="T21" fmla="*/ 0 h 80"/>
                  <a:gd name="T22" fmla="*/ 9 w 74"/>
                  <a:gd name="T23" fmla="*/ 5 h 80"/>
                  <a:gd name="T24" fmla="*/ 4 w 74"/>
                  <a:gd name="T25" fmla="*/ 10 h 80"/>
                  <a:gd name="T26" fmla="*/ 1 w 74"/>
                  <a:gd name="T27" fmla="*/ 14 h 80"/>
                  <a:gd name="T28" fmla="*/ 0 w 74"/>
                  <a:gd name="T29" fmla="*/ 19 h 80"/>
                  <a:gd name="T30" fmla="*/ 0 w 74"/>
                  <a:gd name="T31" fmla="*/ 25 h 80"/>
                  <a:gd name="T32" fmla="*/ 2 w 74"/>
                  <a:gd name="T33" fmla="*/ 30 h 80"/>
                  <a:gd name="T34" fmla="*/ 4 w 74"/>
                  <a:gd name="T35" fmla="*/ 36 h 80"/>
                  <a:gd name="T36" fmla="*/ 7 w 74"/>
                  <a:gd name="T37" fmla="*/ 41 h 80"/>
                  <a:gd name="T38" fmla="*/ 10 w 74"/>
                  <a:gd name="T39" fmla="*/ 46 h 80"/>
                  <a:gd name="T40" fmla="*/ 14 w 74"/>
                  <a:gd name="T41" fmla="*/ 51 h 80"/>
                  <a:gd name="T42" fmla="*/ 19 w 74"/>
                  <a:gd name="T43" fmla="*/ 56 h 80"/>
                  <a:gd name="T44" fmla="*/ 24 w 74"/>
                  <a:gd name="T45" fmla="*/ 61 h 80"/>
                  <a:gd name="T46" fmla="*/ 30 w 74"/>
                  <a:gd name="T47" fmla="*/ 66 h 80"/>
                  <a:gd name="T48" fmla="*/ 35 w 74"/>
                  <a:gd name="T49" fmla="*/ 69 h 80"/>
                  <a:gd name="T50" fmla="*/ 42 w 74"/>
                  <a:gd name="T51" fmla="*/ 72 h 80"/>
                  <a:gd name="T52" fmla="*/ 47 w 74"/>
                  <a:gd name="T53" fmla="*/ 75 h 80"/>
                  <a:gd name="T54" fmla="*/ 54 w 74"/>
                  <a:gd name="T55" fmla="*/ 77 h 80"/>
                  <a:gd name="T56" fmla="*/ 60 w 74"/>
                  <a:gd name="T57" fmla="*/ 79 h 80"/>
                  <a:gd name="T58" fmla="*/ 67 w 74"/>
                  <a:gd name="T59" fmla="*/ 80 h 80"/>
                  <a:gd name="T60" fmla="*/ 74 w 74"/>
                  <a:gd name="T61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92" name="Freeform 154"/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52 w 86"/>
                  <a:gd name="T1" fmla="*/ 80 h 80"/>
                  <a:gd name="T2" fmla="*/ 86 w 86"/>
                  <a:gd name="T3" fmla="*/ 80 h 80"/>
                  <a:gd name="T4" fmla="*/ 86 w 86"/>
                  <a:gd name="T5" fmla="*/ 61 h 80"/>
                  <a:gd name="T6" fmla="*/ 79 w 86"/>
                  <a:gd name="T7" fmla="*/ 59 h 80"/>
                  <a:gd name="T8" fmla="*/ 72 w 86"/>
                  <a:gd name="T9" fmla="*/ 56 h 80"/>
                  <a:gd name="T10" fmla="*/ 67 w 86"/>
                  <a:gd name="T11" fmla="*/ 53 h 80"/>
                  <a:gd name="T12" fmla="*/ 61 w 86"/>
                  <a:gd name="T13" fmla="*/ 49 h 80"/>
                  <a:gd name="T14" fmla="*/ 51 w 86"/>
                  <a:gd name="T15" fmla="*/ 41 h 80"/>
                  <a:gd name="T16" fmla="*/ 43 w 86"/>
                  <a:gd name="T17" fmla="*/ 33 h 80"/>
                  <a:gd name="T18" fmla="*/ 34 w 86"/>
                  <a:gd name="T19" fmla="*/ 25 h 80"/>
                  <a:gd name="T20" fmla="*/ 24 w 86"/>
                  <a:gd name="T21" fmla="*/ 16 h 80"/>
                  <a:gd name="T22" fmla="*/ 13 w 86"/>
                  <a:gd name="T23" fmla="*/ 7 h 80"/>
                  <a:gd name="T24" fmla="*/ 0 w 86"/>
                  <a:gd name="T25" fmla="*/ 0 h 80"/>
                  <a:gd name="T26" fmla="*/ 1 w 86"/>
                  <a:gd name="T27" fmla="*/ 8 h 80"/>
                  <a:gd name="T28" fmla="*/ 5 w 86"/>
                  <a:gd name="T29" fmla="*/ 20 h 80"/>
                  <a:gd name="T30" fmla="*/ 11 w 86"/>
                  <a:gd name="T31" fmla="*/ 32 h 80"/>
                  <a:gd name="T32" fmla="*/ 18 w 86"/>
                  <a:gd name="T33" fmla="*/ 44 h 80"/>
                  <a:gd name="T34" fmla="*/ 27 w 86"/>
                  <a:gd name="T35" fmla="*/ 57 h 80"/>
                  <a:gd name="T36" fmla="*/ 36 w 86"/>
                  <a:gd name="T37" fmla="*/ 67 h 80"/>
                  <a:gd name="T38" fmla="*/ 40 w 86"/>
                  <a:gd name="T39" fmla="*/ 72 h 80"/>
                  <a:gd name="T40" fmla="*/ 45 w 86"/>
                  <a:gd name="T41" fmla="*/ 76 h 80"/>
                  <a:gd name="T42" fmla="*/ 49 w 86"/>
                  <a:gd name="T43" fmla="*/ 79 h 80"/>
                  <a:gd name="T44" fmla="*/ 52 w 86"/>
                  <a:gd name="T45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93" name="Freeform 155"/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7 h 31"/>
                  <a:gd name="T2" fmla="*/ 3 w 74"/>
                  <a:gd name="T3" fmla="*/ 11 h 31"/>
                  <a:gd name="T4" fmla="*/ 5 w 74"/>
                  <a:gd name="T5" fmla="*/ 15 h 31"/>
                  <a:gd name="T6" fmla="*/ 9 w 74"/>
                  <a:gd name="T7" fmla="*/ 18 h 31"/>
                  <a:gd name="T8" fmla="*/ 14 w 74"/>
                  <a:gd name="T9" fmla="*/ 21 h 31"/>
                  <a:gd name="T10" fmla="*/ 18 w 74"/>
                  <a:gd name="T11" fmla="*/ 24 h 31"/>
                  <a:gd name="T12" fmla="*/ 23 w 74"/>
                  <a:gd name="T13" fmla="*/ 26 h 31"/>
                  <a:gd name="T14" fmla="*/ 29 w 74"/>
                  <a:gd name="T15" fmla="*/ 28 h 31"/>
                  <a:gd name="T16" fmla="*/ 34 w 74"/>
                  <a:gd name="T17" fmla="*/ 29 h 31"/>
                  <a:gd name="T18" fmla="*/ 47 w 74"/>
                  <a:gd name="T19" fmla="*/ 31 h 31"/>
                  <a:gd name="T20" fmla="*/ 58 w 74"/>
                  <a:gd name="T21" fmla="*/ 31 h 31"/>
                  <a:gd name="T22" fmla="*/ 63 w 74"/>
                  <a:gd name="T23" fmla="*/ 30 h 31"/>
                  <a:gd name="T24" fmla="*/ 67 w 74"/>
                  <a:gd name="T25" fmla="*/ 29 h 31"/>
                  <a:gd name="T26" fmla="*/ 71 w 74"/>
                  <a:gd name="T27" fmla="*/ 27 h 31"/>
                  <a:gd name="T28" fmla="*/ 74 w 74"/>
                  <a:gd name="T29" fmla="*/ 25 h 31"/>
                  <a:gd name="T30" fmla="*/ 64 w 74"/>
                  <a:gd name="T31" fmla="*/ 18 h 31"/>
                  <a:gd name="T32" fmla="*/ 55 w 74"/>
                  <a:gd name="T33" fmla="*/ 13 h 31"/>
                  <a:gd name="T34" fmla="*/ 51 w 74"/>
                  <a:gd name="T35" fmla="*/ 10 h 31"/>
                  <a:gd name="T36" fmla="*/ 47 w 74"/>
                  <a:gd name="T37" fmla="*/ 8 h 31"/>
                  <a:gd name="T38" fmla="*/ 43 w 74"/>
                  <a:gd name="T39" fmla="*/ 5 h 31"/>
                  <a:gd name="T40" fmla="*/ 41 w 74"/>
                  <a:gd name="T41" fmla="*/ 0 h 31"/>
                  <a:gd name="T42" fmla="*/ 33 w 74"/>
                  <a:gd name="T43" fmla="*/ 1 h 31"/>
                  <a:gd name="T44" fmla="*/ 28 w 74"/>
                  <a:gd name="T45" fmla="*/ 1 h 31"/>
                  <a:gd name="T46" fmla="*/ 22 w 74"/>
                  <a:gd name="T47" fmla="*/ 1 h 31"/>
                  <a:gd name="T48" fmla="*/ 18 w 74"/>
                  <a:gd name="T49" fmla="*/ 0 h 31"/>
                  <a:gd name="T50" fmla="*/ 14 w 74"/>
                  <a:gd name="T51" fmla="*/ 0 h 31"/>
                  <a:gd name="T52" fmla="*/ 10 w 74"/>
                  <a:gd name="T53" fmla="*/ 0 h 31"/>
                  <a:gd name="T54" fmla="*/ 6 w 74"/>
                  <a:gd name="T55" fmla="*/ 3 h 31"/>
                  <a:gd name="T56" fmla="*/ 0 w 74"/>
                  <a:gd name="T57" fmla="*/ 7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94" name="Freeform 156"/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20 w 20"/>
                  <a:gd name="T1" fmla="*/ 0 w 20"/>
                  <a:gd name="T2" fmla="*/ 10 w 20"/>
                  <a:gd name="T3" fmla="*/ 20 w 2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0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95" name="Freeform 157"/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7 w 100"/>
                  <a:gd name="T1" fmla="*/ 25 h 65"/>
                  <a:gd name="T2" fmla="*/ 35 w 100"/>
                  <a:gd name="T3" fmla="*/ 40 h 65"/>
                  <a:gd name="T4" fmla="*/ 61 w 100"/>
                  <a:gd name="T5" fmla="*/ 55 h 65"/>
                  <a:gd name="T6" fmla="*/ 72 w 100"/>
                  <a:gd name="T7" fmla="*/ 60 h 65"/>
                  <a:gd name="T8" fmla="*/ 83 w 100"/>
                  <a:gd name="T9" fmla="*/ 65 h 65"/>
                  <a:gd name="T10" fmla="*/ 87 w 100"/>
                  <a:gd name="T11" fmla="*/ 65 h 65"/>
                  <a:gd name="T12" fmla="*/ 91 w 100"/>
                  <a:gd name="T13" fmla="*/ 65 h 65"/>
                  <a:gd name="T14" fmla="*/ 96 w 100"/>
                  <a:gd name="T15" fmla="*/ 65 h 65"/>
                  <a:gd name="T16" fmla="*/ 100 w 100"/>
                  <a:gd name="T17" fmla="*/ 62 h 65"/>
                  <a:gd name="T18" fmla="*/ 94 w 100"/>
                  <a:gd name="T19" fmla="*/ 60 h 65"/>
                  <a:gd name="T20" fmla="*/ 88 w 100"/>
                  <a:gd name="T21" fmla="*/ 56 h 65"/>
                  <a:gd name="T22" fmla="*/ 83 w 100"/>
                  <a:gd name="T23" fmla="*/ 52 h 65"/>
                  <a:gd name="T24" fmla="*/ 78 w 100"/>
                  <a:gd name="T25" fmla="*/ 46 h 65"/>
                  <a:gd name="T26" fmla="*/ 67 w 100"/>
                  <a:gd name="T27" fmla="*/ 34 h 65"/>
                  <a:gd name="T28" fmla="*/ 57 w 100"/>
                  <a:gd name="T29" fmla="*/ 21 h 65"/>
                  <a:gd name="T30" fmla="*/ 52 w 100"/>
                  <a:gd name="T31" fmla="*/ 15 h 65"/>
                  <a:gd name="T32" fmla="*/ 46 w 100"/>
                  <a:gd name="T33" fmla="*/ 10 h 65"/>
                  <a:gd name="T34" fmla="*/ 40 w 100"/>
                  <a:gd name="T35" fmla="*/ 4 h 65"/>
                  <a:gd name="T36" fmla="*/ 33 w 100"/>
                  <a:gd name="T37" fmla="*/ 1 h 65"/>
                  <a:gd name="T38" fmla="*/ 27 w 100"/>
                  <a:gd name="T39" fmla="*/ 0 h 65"/>
                  <a:gd name="T40" fmla="*/ 18 w 100"/>
                  <a:gd name="T41" fmla="*/ 0 h 65"/>
                  <a:gd name="T42" fmla="*/ 10 w 100"/>
                  <a:gd name="T43" fmla="*/ 2 h 65"/>
                  <a:gd name="T44" fmla="*/ 0 w 100"/>
                  <a:gd name="T45" fmla="*/ 6 h 65"/>
                  <a:gd name="T46" fmla="*/ 7 w 100"/>
                  <a:gd name="T47" fmla="*/ 2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96" name="Freeform 158"/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72 w 79"/>
                  <a:gd name="T1" fmla="*/ 85 h 104"/>
                  <a:gd name="T2" fmla="*/ 56 w 79"/>
                  <a:gd name="T3" fmla="*/ 61 h 104"/>
                  <a:gd name="T4" fmla="*/ 43 w 79"/>
                  <a:gd name="T5" fmla="*/ 41 h 104"/>
                  <a:gd name="T6" fmla="*/ 29 w 79"/>
                  <a:gd name="T7" fmla="*/ 20 h 104"/>
                  <a:gd name="T8" fmla="*/ 12 w 79"/>
                  <a:gd name="T9" fmla="*/ 0 h 104"/>
                  <a:gd name="T10" fmla="*/ 6 w 79"/>
                  <a:gd name="T11" fmla="*/ 16 h 104"/>
                  <a:gd name="T12" fmla="*/ 2 w 79"/>
                  <a:gd name="T13" fmla="*/ 33 h 104"/>
                  <a:gd name="T14" fmla="*/ 0 w 79"/>
                  <a:gd name="T15" fmla="*/ 40 h 104"/>
                  <a:gd name="T16" fmla="*/ 0 w 79"/>
                  <a:gd name="T17" fmla="*/ 48 h 104"/>
                  <a:gd name="T18" fmla="*/ 0 w 79"/>
                  <a:gd name="T19" fmla="*/ 55 h 104"/>
                  <a:gd name="T20" fmla="*/ 0 w 79"/>
                  <a:gd name="T21" fmla="*/ 62 h 104"/>
                  <a:gd name="T22" fmla="*/ 1 w 79"/>
                  <a:gd name="T23" fmla="*/ 68 h 104"/>
                  <a:gd name="T24" fmla="*/ 3 w 79"/>
                  <a:gd name="T25" fmla="*/ 74 h 104"/>
                  <a:gd name="T26" fmla="*/ 6 w 79"/>
                  <a:gd name="T27" fmla="*/ 79 h 104"/>
                  <a:gd name="T28" fmla="*/ 10 w 79"/>
                  <a:gd name="T29" fmla="*/ 83 h 104"/>
                  <a:gd name="T30" fmla="*/ 14 w 79"/>
                  <a:gd name="T31" fmla="*/ 88 h 104"/>
                  <a:gd name="T32" fmla="*/ 20 w 79"/>
                  <a:gd name="T33" fmla="*/ 90 h 104"/>
                  <a:gd name="T34" fmla="*/ 25 w 79"/>
                  <a:gd name="T35" fmla="*/ 92 h 104"/>
                  <a:gd name="T36" fmla="*/ 33 w 79"/>
                  <a:gd name="T37" fmla="*/ 92 h 104"/>
                  <a:gd name="T38" fmla="*/ 43 w 79"/>
                  <a:gd name="T39" fmla="*/ 93 h 104"/>
                  <a:gd name="T40" fmla="*/ 54 w 79"/>
                  <a:gd name="T41" fmla="*/ 96 h 104"/>
                  <a:gd name="T42" fmla="*/ 65 w 79"/>
                  <a:gd name="T43" fmla="*/ 100 h 104"/>
                  <a:gd name="T44" fmla="*/ 79 w 79"/>
                  <a:gd name="T45" fmla="*/ 104 h 104"/>
                  <a:gd name="T46" fmla="*/ 72 w 79"/>
                  <a:gd name="T47" fmla="*/ 85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</p:grpSp>
        <p:sp>
          <p:nvSpPr>
            <p:cNvPr id="96" name="Freeform 159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4216400" y="3548063"/>
              <a:ext cx="11113" cy="55562"/>
            </a:xfrm>
            <a:custGeom>
              <a:avLst/>
              <a:gdLst>
                <a:gd name="T0" fmla="*/ 27 w 27"/>
                <a:gd name="T1" fmla="*/ 0 h 19"/>
                <a:gd name="T2" fmla="*/ 27 w 27"/>
                <a:gd name="T3" fmla="*/ 12 h 19"/>
                <a:gd name="T4" fmla="*/ 27 w 27"/>
                <a:gd name="T5" fmla="*/ 19 h 19"/>
                <a:gd name="T6" fmla="*/ 9 w 27"/>
                <a:gd name="T7" fmla="*/ 19 h 19"/>
                <a:gd name="T8" fmla="*/ 0 w 27"/>
                <a:gd name="T9" fmla="*/ 19 h 19"/>
                <a:gd name="T10" fmla="*/ 9 w 27"/>
                <a:gd name="T11" fmla="*/ 12 h 19"/>
                <a:gd name="T12" fmla="*/ 27 w 27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97" name="Freeform 160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4140200" y="3687763"/>
              <a:ext cx="14288" cy="57150"/>
            </a:xfrm>
            <a:custGeom>
              <a:avLst/>
              <a:gdLst>
                <a:gd name="T0" fmla="*/ 0 w 39"/>
                <a:gd name="T1" fmla="*/ 0 h 35"/>
                <a:gd name="T2" fmla="*/ 39 w 39"/>
                <a:gd name="T3" fmla="*/ 0 h 35"/>
                <a:gd name="T4" fmla="*/ 36 w 39"/>
                <a:gd name="T5" fmla="*/ 9 h 35"/>
                <a:gd name="T6" fmla="*/ 33 w 39"/>
                <a:gd name="T7" fmla="*/ 19 h 35"/>
                <a:gd name="T8" fmla="*/ 27 w 39"/>
                <a:gd name="T9" fmla="*/ 28 h 35"/>
                <a:gd name="T10" fmla="*/ 22 w 39"/>
                <a:gd name="T11" fmla="*/ 34 h 35"/>
                <a:gd name="T12" fmla="*/ 19 w 39"/>
                <a:gd name="T13" fmla="*/ 35 h 35"/>
                <a:gd name="T14" fmla="*/ 16 w 39"/>
                <a:gd name="T15" fmla="*/ 35 h 35"/>
                <a:gd name="T16" fmla="*/ 13 w 39"/>
                <a:gd name="T17" fmla="*/ 34 h 35"/>
                <a:gd name="T18" fmla="*/ 11 w 39"/>
                <a:gd name="T19" fmla="*/ 31 h 35"/>
                <a:gd name="T20" fmla="*/ 7 w 39"/>
                <a:gd name="T21" fmla="*/ 26 h 35"/>
                <a:gd name="T22" fmla="*/ 5 w 39"/>
                <a:gd name="T23" fmla="*/ 20 h 35"/>
                <a:gd name="T24" fmla="*/ 2 w 39"/>
                <a:gd name="T25" fmla="*/ 11 h 35"/>
                <a:gd name="T26" fmla="*/ 0 w 39"/>
                <a:gd name="T2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98" name="Freeform 161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5938838" y="2014538"/>
              <a:ext cx="728662" cy="331787"/>
            </a:xfrm>
            <a:custGeom>
              <a:avLst/>
              <a:gdLst>
                <a:gd name="T0" fmla="*/ 32 w 1688"/>
                <a:gd name="T1" fmla="*/ 216 h 630"/>
                <a:gd name="T2" fmla="*/ 86 w 1688"/>
                <a:gd name="T3" fmla="*/ 249 h 630"/>
                <a:gd name="T4" fmla="*/ 155 w 1688"/>
                <a:gd name="T5" fmla="*/ 264 h 630"/>
                <a:gd name="T6" fmla="*/ 191 w 1688"/>
                <a:gd name="T7" fmla="*/ 281 h 630"/>
                <a:gd name="T8" fmla="*/ 238 w 1688"/>
                <a:gd name="T9" fmla="*/ 331 h 630"/>
                <a:gd name="T10" fmla="*/ 253 w 1688"/>
                <a:gd name="T11" fmla="*/ 349 h 630"/>
                <a:gd name="T12" fmla="*/ 254 w 1688"/>
                <a:gd name="T13" fmla="*/ 386 h 630"/>
                <a:gd name="T14" fmla="*/ 273 w 1688"/>
                <a:gd name="T15" fmla="*/ 408 h 630"/>
                <a:gd name="T16" fmla="*/ 341 w 1688"/>
                <a:gd name="T17" fmla="*/ 416 h 630"/>
                <a:gd name="T18" fmla="*/ 463 w 1688"/>
                <a:gd name="T19" fmla="*/ 452 h 630"/>
                <a:gd name="T20" fmla="*/ 546 w 1688"/>
                <a:gd name="T21" fmla="*/ 469 h 630"/>
                <a:gd name="T22" fmla="*/ 575 w 1688"/>
                <a:gd name="T23" fmla="*/ 510 h 630"/>
                <a:gd name="T24" fmla="*/ 622 w 1688"/>
                <a:gd name="T25" fmla="*/ 542 h 630"/>
                <a:gd name="T26" fmla="*/ 670 w 1688"/>
                <a:gd name="T27" fmla="*/ 555 h 630"/>
                <a:gd name="T28" fmla="*/ 917 w 1688"/>
                <a:gd name="T29" fmla="*/ 576 h 630"/>
                <a:gd name="T30" fmla="*/ 1037 w 1688"/>
                <a:gd name="T31" fmla="*/ 614 h 630"/>
                <a:gd name="T32" fmla="*/ 1117 w 1688"/>
                <a:gd name="T33" fmla="*/ 630 h 630"/>
                <a:gd name="T34" fmla="*/ 1157 w 1688"/>
                <a:gd name="T35" fmla="*/ 613 h 630"/>
                <a:gd name="T36" fmla="*/ 1344 w 1688"/>
                <a:gd name="T37" fmla="*/ 564 h 630"/>
                <a:gd name="T38" fmla="*/ 1395 w 1688"/>
                <a:gd name="T39" fmla="*/ 510 h 630"/>
                <a:gd name="T40" fmla="*/ 1403 w 1688"/>
                <a:gd name="T41" fmla="*/ 483 h 630"/>
                <a:gd name="T42" fmla="*/ 1386 w 1688"/>
                <a:gd name="T43" fmla="*/ 455 h 630"/>
                <a:gd name="T44" fmla="*/ 1370 w 1688"/>
                <a:gd name="T45" fmla="*/ 415 h 630"/>
                <a:gd name="T46" fmla="*/ 1499 w 1688"/>
                <a:gd name="T47" fmla="*/ 394 h 630"/>
                <a:gd name="T48" fmla="*/ 1594 w 1688"/>
                <a:gd name="T49" fmla="*/ 343 h 630"/>
                <a:gd name="T50" fmla="*/ 1651 w 1688"/>
                <a:gd name="T51" fmla="*/ 325 h 630"/>
                <a:gd name="T52" fmla="*/ 1688 w 1688"/>
                <a:gd name="T53" fmla="*/ 297 h 630"/>
                <a:gd name="T54" fmla="*/ 1656 w 1688"/>
                <a:gd name="T55" fmla="*/ 279 h 630"/>
                <a:gd name="T56" fmla="*/ 1619 w 1688"/>
                <a:gd name="T57" fmla="*/ 252 h 630"/>
                <a:gd name="T58" fmla="*/ 1583 w 1688"/>
                <a:gd name="T59" fmla="*/ 248 h 630"/>
                <a:gd name="T60" fmla="*/ 1553 w 1688"/>
                <a:gd name="T61" fmla="*/ 258 h 630"/>
                <a:gd name="T62" fmla="*/ 1497 w 1688"/>
                <a:gd name="T63" fmla="*/ 256 h 630"/>
                <a:gd name="T64" fmla="*/ 1457 w 1688"/>
                <a:gd name="T65" fmla="*/ 235 h 630"/>
                <a:gd name="T66" fmla="*/ 1434 w 1688"/>
                <a:gd name="T67" fmla="*/ 187 h 630"/>
                <a:gd name="T68" fmla="*/ 1367 w 1688"/>
                <a:gd name="T69" fmla="*/ 124 h 630"/>
                <a:gd name="T70" fmla="*/ 1286 w 1688"/>
                <a:gd name="T71" fmla="*/ 120 h 630"/>
                <a:gd name="T72" fmla="*/ 1260 w 1688"/>
                <a:gd name="T73" fmla="*/ 147 h 630"/>
                <a:gd name="T74" fmla="*/ 1236 w 1688"/>
                <a:gd name="T75" fmla="*/ 165 h 630"/>
                <a:gd name="T76" fmla="*/ 1168 w 1688"/>
                <a:gd name="T77" fmla="*/ 167 h 630"/>
                <a:gd name="T78" fmla="*/ 1044 w 1688"/>
                <a:gd name="T79" fmla="*/ 167 h 630"/>
                <a:gd name="T80" fmla="*/ 986 w 1688"/>
                <a:gd name="T81" fmla="*/ 140 h 630"/>
                <a:gd name="T82" fmla="*/ 922 w 1688"/>
                <a:gd name="T83" fmla="*/ 108 h 630"/>
                <a:gd name="T84" fmla="*/ 852 w 1688"/>
                <a:gd name="T85" fmla="*/ 100 h 630"/>
                <a:gd name="T86" fmla="*/ 801 w 1688"/>
                <a:gd name="T87" fmla="*/ 114 h 630"/>
                <a:gd name="T88" fmla="*/ 740 w 1688"/>
                <a:gd name="T89" fmla="*/ 116 h 630"/>
                <a:gd name="T90" fmla="*/ 692 w 1688"/>
                <a:gd name="T91" fmla="*/ 101 h 630"/>
                <a:gd name="T92" fmla="*/ 662 w 1688"/>
                <a:gd name="T93" fmla="*/ 68 h 630"/>
                <a:gd name="T94" fmla="*/ 446 w 1688"/>
                <a:gd name="T95" fmla="*/ 7 h 630"/>
                <a:gd name="T96" fmla="*/ 446 w 1688"/>
                <a:gd name="T97" fmla="*/ 44 h 630"/>
                <a:gd name="T98" fmla="*/ 471 w 1688"/>
                <a:gd name="T99" fmla="*/ 79 h 630"/>
                <a:gd name="T100" fmla="*/ 490 w 1688"/>
                <a:gd name="T101" fmla="*/ 106 h 630"/>
                <a:gd name="T102" fmla="*/ 307 w 1688"/>
                <a:gd name="T103" fmla="*/ 122 h 630"/>
                <a:gd name="T104" fmla="*/ 294 w 1688"/>
                <a:gd name="T105" fmla="*/ 87 h 630"/>
                <a:gd name="T106" fmla="*/ 225 w 1688"/>
                <a:gd name="T107" fmla="*/ 97 h 630"/>
                <a:gd name="T108" fmla="*/ 185 w 1688"/>
                <a:gd name="T109" fmla="*/ 88 h 630"/>
                <a:gd name="T110" fmla="*/ 138 w 1688"/>
                <a:gd name="T111" fmla="*/ 97 h 630"/>
                <a:gd name="T112" fmla="*/ 68 w 1688"/>
                <a:gd name="T113" fmla="*/ 143 h 630"/>
                <a:gd name="T114" fmla="*/ 31 w 1688"/>
                <a:gd name="T115" fmla="*/ 151 h 630"/>
                <a:gd name="T116" fmla="*/ 4 w 1688"/>
                <a:gd name="T117" fmla="*/ 169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99" name="Freeform 162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2265363" y="3981450"/>
              <a:ext cx="328612" cy="415925"/>
            </a:xfrm>
            <a:custGeom>
              <a:avLst/>
              <a:gdLst>
                <a:gd name="T0" fmla="*/ 26 w 758"/>
                <a:gd name="T1" fmla="*/ 80 h 795"/>
                <a:gd name="T2" fmla="*/ 49 w 758"/>
                <a:gd name="T3" fmla="*/ 88 h 795"/>
                <a:gd name="T4" fmla="*/ 72 w 758"/>
                <a:gd name="T5" fmla="*/ 108 h 795"/>
                <a:gd name="T6" fmla="*/ 88 w 758"/>
                <a:gd name="T7" fmla="*/ 134 h 795"/>
                <a:gd name="T8" fmla="*/ 93 w 758"/>
                <a:gd name="T9" fmla="*/ 169 h 795"/>
                <a:gd name="T10" fmla="*/ 84 w 758"/>
                <a:gd name="T11" fmla="*/ 186 h 795"/>
                <a:gd name="T12" fmla="*/ 81 w 758"/>
                <a:gd name="T13" fmla="*/ 205 h 795"/>
                <a:gd name="T14" fmla="*/ 88 w 758"/>
                <a:gd name="T15" fmla="*/ 240 h 795"/>
                <a:gd name="T16" fmla="*/ 95 w 758"/>
                <a:gd name="T17" fmla="*/ 278 h 795"/>
                <a:gd name="T18" fmla="*/ 83 w 758"/>
                <a:gd name="T19" fmla="*/ 308 h 795"/>
                <a:gd name="T20" fmla="*/ 81 w 758"/>
                <a:gd name="T21" fmla="*/ 352 h 795"/>
                <a:gd name="T22" fmla="*/ 93 w 758"/>
                <a:gd name="T23" fmla="*/ 390 h 795"/>
                <a:gd name="T24" fmla="*/ 99 w 758"/>
                <a:gd name="T25" fmla="*/ 415 h 795"/>
                <a:gd name="T26" fmla="*/ 78 w 758"/>
                <a:gd name="T27" fmla="*/ 457 h 795"/>
                <a:gd name="T28" fmla="*/ 113 w 758"/>
                <a:gd name="T29" fmla="*/ 529 h 795"/>
                <a:gd name="T30" fmla="*/ 138 w 758"/>
                <a:gd name="T31" fmla="*/ 577 h 795"/>
                <a:gd name="T32" fmla="*/ 146 w 758"/>
                <a:gd name="T33" fmla="*/ 622 h 795"/>
                <a:gd name="T34" fmla="*/ 152 w 758"/>
                <a:gd name="T35" fmla="*/ 659 h 795"/>
                <a:gd name="T36" fmla="*/ 187 w 758"/>
                <a:gd name="T37" fmla="*/ 738 h 795"/>
                <a:gd name="T38" fmla="*/ 214 w 758"/>
                <a:gd name="T39" fmla="*/ 782 h 795"/>
                <a:gd name="T40" fmla="*/ 230 w 758"/>
                <a:gd name="T41" fmla="*/ 794 h 795"/>
                <a:gd name="T42" fmla="*/ 251 w 758"/>
                <a:gd name="T43" fmla="*/ 790 h 795"/>
                <a:gd name="T44" fmla="*/ 289 w 758"/>
                <a:gd name="T45" fmla="*/ 761 h 795"/>
                <a:gd name="T46" fmla="*/ 324 w 758"/>
                <a:gd name="T47" fmla="*/ 746 h 795"/>
                <a:gd name="T48" fmla="*/ 355 w 758"/>
                <a:gd name="T49" fmla="*/ 748 h 795"/>
                <a:gd name="T50" fmla="*/ 388 w 758"/>
                <a:gd name="T51" fmla="*/ 770 h 795"/>
                <a:gd name="T52" fmla="*/ 418 w 758"/>
                <a:gd name="T53" fmla="*/ 780 h 795"/>
                <a:gd name="T54" fmla="*/ 437 w 758"/>
                <a:gd name="T55" fmla="*/ 758 h 795"/>
                <a:gd name="T56" fmla="*/ 478 w 758"/>
                <a:gd name="T57" fmla="*/ 745 h 795"/>
                <a:gd name="T58" fmla="*/ 525 w 758"/>
                <a:gd name="T59" fmla="*/ 622 h 795"/>
                <a:gd name="T60" fmla="*/ 539 w 758"/>
                <a:gd name="T61" fmla="*/ 600 h 795"/>
                <a:gd name="T62" fmla="*/ 575 w 758"/>
                <a:gd name="T63" fmla="*/ 584 h 795"/>
                <a:gd name="T64" fmla="*/ 665 w 758"/>
                <a:gd name="T65" fmla="*/ 573 h 795"/>
                <a:gd name="T66" fmla="*/ 687 w 758"/>
                <a:gd name="T67" fmla="*/ 579 h 795"/>
                <a:gd name="T68" fmla="*/ 704 w 758"/>
                <a:gd name="T69" fmla="*/ 585 h 795"/>
                <a:gd name="T70" fmla="*/ 744 w 758"/>
                <a:gd name="T71" fmla="*/ 573 h 795"/>
                <a:gd name="T72" fmla="*/ 757 w 758"/>
                <a:gd name="T73" fmla="*/ 541 h 795"/>
                <a:gd name="T74" fmla="*/ 752 w 758"/>
                <a:gd name="T75" fmla="*/ 499 h 795"/>
                <a:gd name="T76" fmla="*/ 726 w 758"/>
                <a:gd name="T77" fmla="*/ 462 h 795"/>
                <a:gd name="T78" fmla="*/ 710 w 758"/>
                <a:gd name="T79" fmla="*/ 435 h 795"/>
                <a:gd name="T80" fmla="*/ 671 w 758"/>
                <a:gd name="T81" fmla="*/ 401 h 795"/>
                <a:gd name="T82" fmla="*/ 633 w 758"/>
                <a:gd name="T83" fmla="*/ 399 h 795"/>
                <a:gd name="T84" fmla="*/ 605 w 758"/>
                <a:gd name="T85" fmla="*/ 378 h 795"/>
                <a:gd name="T86" fmla="*/ 590 w 758"/>
                <a:gd name="T87" fmla="*/ 349 h 795"/>
                <a:gd name="T88" fmla="*/ 585 w 758"/>
                <a:gd name="T89" fmla="*/ 311 h 795"/>
                <a:gd name="T90" fmla="*/ 583 w 758"/>
                <a:gd name="T91" fmla="*/ 269 h 795"/>
                <a:gd name="T92" fmla="*/ 560 w 758"/>
                <a:gd name="T93" fmla="*/ 242 h 795"/>
                <a:gd name="T94" fmla="*/ 503 w 758"/>
                <a:gd name="T95" fmla="*/ 205 h 795"/>
                <a:gd name="T96" fmla="*/ 440 w 758"/>
                <a:gd name="T97" fmla="*/ 178 h 795"/>
                <a:gd name="T98" fmla="*/ 392 w 758"/>
                <a:gd name="T99" fmla="*/ 167 h 795"/>
                <a:gd name="T100" fmla="*/ 359 w 758"/>
                <a:gd name="T101" fmla="*/ 161 h 795"/>
                <a:gd name="T102" fmla="*/ 330 w 758"/>
                <a:gd name="T103" fmla="*/ 145 h 795"/>
                <a:gd name="T104" fmla="*/ 307 w 758"/>
                <a:gd name="T105" fmla="*/ 122 h 795"/>
                <a:gd name="T106" fmla="*/ 292 w 758"/>
                <a:gd name="T107" fmla="*/ 92 h 795"/>
                <a:gd name="T108" fmla="*/ 279 w 758"/>
                <a:gd name="T109" fmla="*/ 19 h 795"/>
                <a:gd name="T110" fmla="*/ 261 w 758"/>
                <a:gd name="T111" fmla="*/ 3 h 795"/>
                <a:gd name="T112" fmla="*/ 227 w 758"/>
                <a:gd name="T113" fmla="*/ 3 h 795"/>
                <a:gd name="T114" fmla="*/ 173 w 758"/>
                <a:gd name="T115" fmla="*/ 30 h 795"/>
                <a:gd name="T116" fmla="*/ 119 w 758"/>
                <a:gd name="T117" fmla="*/ 66 h 795"/>
                <a:gd name="T118" fmla="*/ 0 w 758"/>
                <a:gd name="T119" fmla="*/ 80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00" name="Freeform 163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2479675" y="3411538"/>
              <a:ext cx="119063" cy="215900"/>
            </a:xfrm>
            <a:custGeom>
              <a:avLst/>
              <a:gdLst>
                <a:gd name="T0" fmla="*/ 225 w 273"/>
                <a:gd name="T1" fmla="*/ 140 h 414"/>
                <a:gd name="T2" fmla="*/ 213 w 273"/>
                <a:gd name="T3" fmla="*/ 133 h 414"/>
                <a:gd name="T4" fmla="*/ 201 w 273"/>
                <a:gd name="T5" fmla="*/ 121 h 414"/>
                <a:gd name="T6" fmla="*/ 190 w 273"/>
                <a:gd name="T7" fmla="*/ 105 h 414"/>
                <a:gd name="T8" fmla="*/ 183 w 273"/>
                <a:gd name="T9" fmla="*/ 96 h 414"/>
                <a:gd name="T10" fmla="*/ 176 w 273"/>
                <a:gd name="T11" fmla="*/ 93 h 414"/>
                <a:gd name="T12" fmla="*/ 167 w 273"/>
                <a:gd name="T13" fmla="*/ 94 h 414"/>
                <a:gd name="T14" fmla="*/ 161 w 273"/>
                <a:gd name="T15" fmla="*/ 101 h 414"/>
                <a:gd name="T16" fmla="*/ 153 w 273"/>
                <a:gd name="T17" fmla="*/ 86 h 414"/>
                <a:gd name="T18" fmla="*/ 142 w 273"/>
                <a:gd name="T19" fmla="*/ 54 h 414"/>
                <a:gd name="T20" fmla="*/ 132 w 273"/>
                <a:gd name="T21" fmla="*/ 36 h 414"/>
                <a:gd name="T22" fmla="*/ 123 w 273"/>
                <a:gd name="T23" fmla="*/ 25 h 414"/>
                <a:gd name="T24" fmla="*/ 111 w 273"/>
                <a:gd name="T25" fmla="*/ 14 h 414"/>
                <a:gd name="T26" fmla="*/ 96 w 273"/>
                <a:gd name="T27" fmla="*/ 5 h 414"/>
                <a:gd name="T28" fmla="*/ 80 w 273"/>
                <a:gd name="T29" fmla="*/ 7 h 414"/>
                <a:gd name="T30" fmla="*/ 69 w 273"/>
                <a:gd name="T31" fmla="*/ 19 h 414"/>
                <a:gd name="T32" fmla="*/ 63 w 273"/>
                <a:gd name="T33" fmla="*/ 25 h 414"/>
                <a:gd name="T34" fmla="*/ 57 w 273"/>
                <a:gd name="T35" fmla="*/ 32 h 414"/>
                <a:gd name="T36" fmla="*/ 56 w 273"/>
                <a:gd name="T37" fmla="*/ 42 h 414"/>
                <a:gd name="T38" fmla="*/ 58 w 273"/>
                <a:gd name="T39" fmla="*/ 59 h 414"/>
                <a:gd name="T40" fmla="*/ 52 w 273"/>
                <a:gd name="T41" fmla="*/ 78 h 414"/>
                <a:gd name="T42" fmla="*/ 33 w 273"/>
                <a:gd name="T43" fmla="*/ 90 h 414"/>
                <a:gd name="T44" fmla="*/ 17 w 273"/>
                <a:gd name="T45" fmla="*/ 104 h 414"/>
                <a:gd name="T46" fmla="*/ 4 w 273"/>
                <a:gd name="T47" fmla="*/ 118 h 414"/>
                <a:gd name="T48" fmla="*/ 40 w 273"/>
                <a:gd name="T49" fmla="*/ 198 h 414"/>
                <a:gd name="T50" fmla="*/ 73 w 273"/>
                <a:gd name="T51" fmla="*/ 205 h 414"/>
                <a:gd name="T52" fmla="*/ 84 w 273"/>
                <a:gd name="T53" fmla="*/ 210 h 414"/>
                <a:gd name="T54" fmla="*/ 93 w 273"/>
                <a:gd name="T55" fmla="*/ 218 h 414"/>
                <a:gd name="T56" fmla="*/ 99 w 273"/>
                <a:gd name="T57" fmla="*/ 226 h 414"/>
                <a:gd name="T58" fmla="*/ 103 w 273"/>
                <a:gd name="T59" fmla="*/ 237 h 414"/>
                <a:gd name="T60" fmla="*/ 106 w 273"/>
                <a:gd name="T61" fmla="*/ 265 h 414"/>
                <a:gd name="T62" fmla="*/ 103 w 273"/>
                <a:gd name="T63" fmla="*/ 279 h 414"/>
                <a:gd name="T64" fmla="*/ 96 w 273"/>
                <a:gd name="T65" fmla="*/ 293 h 414"/>
                <a:gd name="T66" fmla="*/ 89 w 273"/>
                <a:gd name="T67" fmla="*/ 307 h 414"/>
                <a:gd name="T68" fmla="*/ 86 w 273"/>
                <a:gd name="T69" fmla="*/ 321 h 414"/>
                <a:gd name="T70" fmla="*/ 91 w 273"/>
                <a:gd name="T71" fmla="*/ 343 h 414"/>
                <a:gd name="T72" fmla="*/ 107 w 273"/>
                <a:gd name="T73" fmla="*/ 374 h 414"/>
                <a:gd name="T74" fmla="*/ 117 w 273"/>
                <a:gd name="T75" fmla="*/ 389 h 414"/>
                <a:gd name="T76" fmla="*/ 129 w 273"/>
                <a:gd name="T77" fmla="*/ 401 h 414"/>
                <a:gd name="T78" fmla="*/ 141 w 273"/>
                <a:gd name="T79" fmla="*/ 411 h 414"/>
                <a:gd name="T80" fmla="*/ 153 w 273"/>
                <a:gd name="T81" fmla="*/ 414 h 414"/>
                <a:gd name="T82" fmla="*/ 215 w 273"/>
                <a:gd name="T83" fmla="*/ 398 h 414"/>
                <a:gd name="T84" fmla="*/ 255 w 273"/>
                <a:gd name="T85" fmla="*/ 385 h 414"/>
                <a:gd name="T86" fmla="*/ 267 w 273"/>
                <a:gd name="T87" fmla="*/ 377 h 414"/>
                <a:gd name="T88" fmla="*/ 273 w 273"/>
                <a:gd name="T89" fmla="*/ 370 h 414"/>
                <a:gd name="T90" fmla="*/ 269 w 273"/>
                <a:gd name="T91" fmla="*/ 352 h 414"/>
                <a:gd name="T92" fmla="*/ 263 w 273"/>
                <a:gd name="T93" fmla="*/ 335 h 414"/>
                <a:gd name="T94" fmla="*/ 242 w 273"/>
                <a:gd name="T95" fmla="*/ 309 h 414"/>
                <a:gd name="T96" fmla="*/ 222 w 273"/>
                <a:gd name="T97" fmla="*/ 282 h 414"/>
                <a:gd name="T98" fmla="*/ 215 w 273"/>
                <a:gd name="T99" fmla="*/ 266 h 414"/>
                <a:gd name="T100" fmla="*/ 212 w 273"/>
                <a:gd name="T101" fmla="*/ 247 h 414"/>
                <a:gd name="T102" fmla="*/ 215 w 273"/>
                <a:gd name="T103" fmla="*/ 215 h 414"/>
                <a:gd name="T104" fmla="*/ 222 w 273"/>
                <a:gd name="T105" fmla="*/ 190 h 414"/>
                <a:gd name="T106" fmla="*/ 230 w 273"/>
                <a:gd name="T107" fmla="*/ 167 h 414"/>
                <a:gd name="T108" fmla="*/ 232 w 273"/>
                <a:gd name="T109" fmla="*/ 142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grpSp>
          <p:nvGrpSpPr>
            <p:cNvPr id="101" name="Group 164"/>
            <p:cNvGrpSpPr>
              <a:grpSpLocks/>
            </p:cNvGrpSpPr>
            <p:nvPr>
              <p:custDataLst>
                <p:tags r:id="rId95"/>
              </p:custDataLst>
            </p:nvPr>
          </p:nvGrpSpPr>
          <p:grpSpPr bwMode="auto">
            <a:xfrm>
              <a:off x="2193925" y="3246438"/>
              <a:ext cx="323850" cy="401637"/>
              <a:chOff x="1486" y="2412"/>
              <a:chExt cx="244" cy="256"/>
            </a:xfrm>
          </p:grpSpPr>
          <p:sp>
            <p:nvSpPr>
              <p:cNvPr id="484" name="Freeform 165"/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18 h 22"/>
                  <a:gd name="T4" fmla="*/ 6 w 54"/>
                  <a:gd name="T5" fmla="*/ 20 h 22"/>
                  <a:gd name="T6" fmla="*/ 10 w 54"/>
                  <a:gd name="T7" fmla="*/ 21 h 22"/>
                  <a:gd name="T8" fmla="*/ 14 w 54"/>
                  <a:gd name="T9" fmla="*/ 22 h 22"/>
                  <a:gd name="T10" fmla="*/ 20 w 54"/>
                  <a:gd name="T11" fmla="*/ 22 h 22"/>
                  <a:gd name="T12" fmla="*/ 23 w 54"/>
                  <a:gd name="T13" fmla="*/ 22 h 22"/>
                  <a:gd name="T14" fmla="*/ 27 w 54"/>
                  <a:gd name="T15" fmla="*/ 21 h 22"/>
                  <a:gd name="T16" fmla="*/ 31 w 54"/>
                  <a:gd name="T17" fmla="*/ 20 h 22"/>
                  <a:gd name="T18" fmla="*/ 33 w 54"/>
                  <a:gd name="T19" fmla="*/ 18 h 22"/>
                  <a:gd name="T20" fmla="*/ 35 w 54"/>
                  <a:gd name="T21" fmla="*/ 16 h 22"/>
                  <a:gd name="T22" fmla="*/ 41 w 54"/>
                  <a:gd name="T23" fmla="*/ 12 h 22"/>
                  <a:gd name="T24" fmla="*/ 47 w 54"/>
                  <a:gd name="T25" fmla="*/ 8 h 22"/>
                  <a:gd name="T26" fmla="*/ 54 w 54"/>
                  <a:gd name="T27" fmla="*/ 6 h 22"/>
                  <a:gd name="T28" fmla="*/ 36 w 54"/>
                  <a:gd name="T29" fmla="*/ 5 h 22"/>
                  <a:gd name="T30" fmla="*/ 20 w 54"/>
                  <a:gd name="T31" fmla="*/ 3 h 22"/>
                  <a:gd name="T32" fmla="*/ 6 w 54"/>
                  <a:gd name="T33" fmla="*/ 1 h 22"/>
                  <a:gd name="T34" fmla="*/ 0 w 54"/>
                  <a:gd name="T3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85" name="Freeform 166"/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6 w 6"/>
                  <a:gd name="T1" fmla="*/ 24 h 24"/>
                  <a:gd name="T2" fmla="*/ 6 w 6"/>
                  <a:gd name="T3" fmla="*/ 0 h 24"/>
                  <a:gd name="T4" fmla="*/ 4 w 6"/>
                  <a:gd name="T5" fmla="*/ 1 h 24"/>
                  <a:gd name="T6" fmla="*/ 1 w 6"/>
                  <a:gd name="T7" fmla="*/ 3 h 24"/>
                  <a:gd name="T8" fmla="*/ 0 w 6"/>
                  <a:gd name="T9" fmla="*/ 7 h 24"/>
                  <a:gd name="T10" fmla="*/ 0 w 6"/>
                  <a:gd name="T11" fmla="*/ 12 h 24"/>
                  <a:gd name="T12" fmla="*/ 0 w 6"/>
                  <a:gd name="T13" fmla="*/ 16 h 24"/>
                  <a:gd name="T14" fmla="*/ 1 w 6"/>
                  <a:gd name="T15" fmla="*/ 20 h 24"/>
                  <a:gd name="T16" fmla="*/ 4 w 6"/>
                  <a:gd name="T17" fmla="*/ 23 h 24"/>
                  <a:gd name="T18" fmla="*/ 6 w 6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86" name="Freeform 167"/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12 h 12"/>
                  <a:gd name="T2" fmla="*/ 27 w 27"/>
                  <a:gd name="T3" fmla="*/ 12 h 12"/>
                  <a:gd name="T4" fmla="*/ 14 w 27"/>
                  <a:gd name="T5" fmla="*/ 0 h 12"/>
                  <a:gd name="T6" fmla="*/ 0 w 27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87" name="Freeform 168"/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9 w 743"/>
                  <a:gd name="T1" fmla="*/ 208 h 672"/>
                  <a:gd name="T2" fmla="*/ 50 w 743"/>
                  <a:gd name="T3" fmla="*/ 266 h 672"/>
                  <a:gd name="T4" fmla="*/ 121 w 743"/>
                  <a:gd name="T5" fmla="*/ 294 h 672"/>
                  <a:gd name="T6" fmla="*/ 166 w 743"/>
                  <a:gd name="T7" fmla="*/ 316 h 672"/>
                  <a:gd name="T8" fmla="*/ 198 w 743"/>
                  <a:gd name="T9" fmla="*/ 346 h 672"/>
                  <a:gd name="T10" fmla="*/ 296 w 743"/>
                  <a:gd name="T11" fmla="*/ 379 h 672"/>
                  <a:gd name="T12" fmla="*/ 286 w 743"/>
                  <a:gd name="T13" fmla="*/ 420 h 672"/>
                  <a:gd name="T14" fmla="*/ 311 w 743"/>
                  <a:gd name="T15" fmla="*/ 513 h 672"/>
                  <a:gd name="T16" fmla="*/ 303 w 743"/>
                  <a:gd name="T17" fmla="*/ 535 h 672"/>
                  <a:gd name="T18" fmla="*/ 302 w 743"/>
                  <a:gd name="T19" fmla="*/ 566 h 672"/>
                  <a:gd name="T20" fmla="*/ 328 w 743"/>
                  <a:gd name="T21" fmla="*/ 617 h 672"/>
                  <a:gd name="T22" fmla="*/ 371 w 743"/>
                  <a:gd name="T23" fmla="*/ 659 h 672"/>
                  <a:gd name="T24" fmla="*/ 415 w 743"/>
                  <a:gd name="T25" fmla="*/ 671 h 672"/>
                  <a:gd name="T26" fmla="*/ 465 w 743"/>
                  <a:gd name="T27" fmla="*/ 653 h 672"/>
                  <a:gd name="T28" fmla="*/ 507 w 743"/>
                  <a:gd name="T29" fmla="*/ 619 h 672"/>
                  <a:gd name="T30" fmla="*/ 524 w 743"/>
                  <a:gd name="T31" fmla="*/ 586 h 672"/>
                  <a:gd name="T32" fmla="*/ 477 w 743"/>
                  <a:gd name="T33" fmla="*/ 469 h 672"/>
                  <a:gd name="T34" fmla="*/ 577 w 743"/>
                  <a:gd name="T35" fmla="*/ 500 h 672"/>
                  <a:gd name="T36" fmla="*/ 600 w 743"/>
                  <a:gd name="T37" fmla="*/ 477 h 672"/>
                  <a:gd name="T38" fmla="*/ 652 w 743"/>
                  <a:gd name="T39" fmla="*/ 445 h 672"/>
                  <a:gd name="T40" fmla="*/ 669 w 743"/>
                  <a:gd name="T41" fmla="*/ 441 h 672"/>
                  <a:gd name="T42" fmla="*/ 685 w 743"/>
                  <a:gd name="T43" fmla="*/ 435 h 672"/>
                  <a:gd name="T44" fmla="*/ 666 w 743"/>
                  <a:gd name="T45" fmla="*/ 327 h 672"/>
                  <a:gd name="T46" fmla="*/ 709 w 743"/>
                  <a:gd name="T47" fmla="*/ 294 h 672"/>
                  <a:gd name="T48" fmla="*/ 714 w 743"/>
                  <a:gd name="T49" fmla="*/ 253 h 672"/>
                  <a:gd name="T50" fmla="*/ 726 w 743"/>
                  <a:gd name="T51" fmla="*/ 235 h 672"/>
                  <a:gd name="T52" fmla="*/ 728 w 743"/>
                  <a:gd name="T53" fmla="*/ 213 h 672"/>
                  <a:gd name="T54" fmla="*/ 700 w 743"/>
                  <a:gd name="T55" fmla="*/ 196 h 672"/>
                  <a:gd name="T56" fmla="*/ 686 w 743"/>
                  <a:gd name="T57" fmla="*/ 168 h 672"/>
                  <a:gd name="T58" fmla="*/ 670 w 743"/>
                  <a:gd name="T59" fmla="*/ 145 h 672"/>
                  <a:gd name="T60" fmla="*/ 639 w 743"/>
                  <a:gd name="T61" fmla="*/ 152 h 672"/>
                  <a:gd name="T62" fmla="*/ 630 w 743"/>
                  <a:gd name="T63" fmla="*/ 134 h 672"/>
                  <a:gd name="T64" fmla="*/ 602 w 743"/>
                  <a:gd name="T65" fmla="*/ 115 h 672"/>
                  <a:gd name="T66" fmla="*/ 584 w 743"/>
                  <a:gd name="T67" fmla="*/ 97 h 672"/>
                  <a:gd name="T68" fmla="*/ 536 w 743"/>
                  <a:gd name="T69" fmla="*/ 75 h 672"/>
                  <a:gd name="T70" fmla="*/ 490 w 743"/>
                  <a:gd name="T71" fmla="*/ 87 h 672"/>
                  <a:gd name="T72" fmla="*/ 472 w 743"/>
                  <a:gd name="T73" fmla="*/ 101 h 672"/>
                  <a:gd name="T74" fmla="*/ 434 w 743"/>
                  <a:gd name="T75" fmla="*/ 116 h 672"/>
                  <a:gd name="T76" fmla="*/ 418 w 743"/>
                  <a:gd name="T77" fmla="*/ 104 h 672"/>
                  <a:gd name="T78" fmla="*/ 393 w 743"/>
                  <a:gd name="T79" fmla="*/ 102 h 672"/>
                  <a:gd name="T80" fmla="*/ 359 w 743"/>
                  <a:gd name="T81" fmla="*/ 83 h 672"/>
                  <a:gd name="T82" fmla="*/ 317 w 743"/>
                  <a:gd name="T83" fmla="*/ 85 h 672"/>
                  <a:gd name="T84" fmla="*/ 291 w 743"/>
                  <a:gd name="T85" fmla="*/ 92 h 672"/>
                  <a:gd name="T86" fmla="*/ 252 w 743"/>
                  <a:gd name="T87" fmla="*/ 93 h 672"/>
                  <a:gd name="T88" fmla="*/ 233 w 743"/>
                  <a:gd name="T89" fmla="*/ 52 h 672"/>
                  <a:gd name="T90" fmla="*/ 179 w 743"/>
                  <a:gd name="T91" fmla="*/ 22 h 672"/>
                  <a:gd name="T92" fmla="*/ 148 w 743"/>
                  <a:gd name="T93" fmla="*/ 10 h 672"/>
                  <a:gd name="T94" fmla="*/ 136 w 743"/>
                  <a:gd name="T95" fmla="*/ 46 h 672"/>
                  <a:gd name="T96" fmla="*/ 119 w 743"/>
                  <a:gd name="T97" fmla="*/ 69 h 672"/>
                  <a:gd name="T98" fmla="*/ 119 w 743"/>
                  <a:gd name="T99" fmla="*/ 137 h 672"/>
                  <a:gd name="T100" fmla="*/ 104 w 743"/>
                  <a:gd name="T101" fmla="*/ 194 h 672"/>
                  <a:gd name="T102" fmla="*/ 87 w 743"/>
                  <a:gd name="T103" fmla="*/ 190 h 672"/>
                  <a:gd name="T104" fmla="*/ 70 w 743"/>
                  <a:gd name="T105" fmla="*/ 184 h 672"/>
                  <a:gd name="T106" fmla="*/ 57 w 743"/>
                  <a:gd name="T107" fmla="*/ 169 h 672"/>
                  <a:gd name="T108" fmla="*/ 52 w 743"/>
                  <a:gd name="T109" fmla="*/ 119 h 672"/>
                  <a:gd name="T110" fmla="*/ 73 w 743"/>
                  <a:gd name="T111" fmla="*/ 61 h 672"/>
                  <a:gd name="T112" fmla="*/ 97 w 743"/>
                  <a:gd name="T113" fmla="*/ 15 h 672"/>
                  <a:gd name="T114" fmla="*/ 52 w 743"/>
                  <a:gd name="T115" fmla="*/ 30 h 672"/>
                  <a:gd name="T116" fmla="*/ 16 w 743"/>
                  <a:gd name="T117" fmla="*/ 70 h 672"/>
                  <a:gd name="T118" fmla="*/ 1 w 743"/>
                  <a:gd name="T119" fmla="*/ 120 h 6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</p:grpSp>
        <p:sp>
          <p:nvSpPr>
            <p:cNvPr id="102" name="Freeform 169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7215188" y="4786313"/>
              <a:ext cx="31750" cy="11112"/>
            </a:xfrm>
            <a:custGeom>
              <a:avLst/>
              <a:gdLst>
                <a:gd name="T0" fmla="*/ 0 w 79"/>
                <a:gd name="T1" fmla="*/ 23 h 23"/>
                <a:gd name="T2" fmla="*/ 22 w 79"/>
                <a:gd name="T3" fmla="*/ 13 h 23"/>
                <a:gd name="T4" fmla="*/ 45 w 79"/>
                <a:gd name="T5" fmla="*/ 4 h 23"/>
                <a:gd name="T6" fmla="*/ 56 w 79"/>
                <a:gd name="T7" fmla="*/ 1 h 23"/>
                <a:gd name="T8" fmla="*/ 65 w 79"/>
                <a:gd name="T9" fmla="*/ 0 h 23"/>
                <a:gd name="T10" fmla="*/ 69 w 79"/>
                <a:gd name="T11" fmla="*/ 0 h 23"/>
                <a:gd name="T12" fmla="*/ 74 w 79"/>
                <a:gd name="T13" fmla="*/ 1 h 23"/>
                <a:gd name="T14" fmla="*/ 77 w 79"/>
                <a:gd name="T15" fmla="*/ 2 h 23"/>
                <a:gd name="T16" fmla="*/ 79 w 79"/>
                <a:gd name="T17" fmla="*/ 4 h 23"/>
                <a:gd name="T18" fmla="*/ 77 w 79"/>
                <a:gd name="T19" fmla="*/ 8 h 23"/>
                <a:gd name="T20" fmla="*/ 75 w 79"/>
                <a:gd name="T21" fmla="*/ 13 h 23"/>
                <a:gd name="T22" fmla="*/ 72 w 79"/>
                <a:gd name="T23" fmla="*/ 16 h 23"/>
                <a:gd name="T24" fmla="*/ 68 w 79"/>
                <a:gd name="T25" fmla="*/ 19 h 23"/>
                <a:gd name="T26" fmla="*/ 64 w 79"/>
                <a:gd name="T27" fmla="*/ 21 h 23"/>
                <a:gd name="T28" fmla="*/ 59 w 79"/>
                <a:gd name="T29" fmla="*/ 22 h 23"/>
                <a:gd name="T30" fmla="*/ 53 w 79"/>
                <a:gd name="T31" fmla="*/ 23 h 23"/>
                <a:gd name="T32" fmla="*/ 46 w 79"/>
                <a:gd name="T33" fmla="*/ 23 h 23"/>
                <a:gd name="T34" fmla="*/ 37 w 79"/>
                <a:gd name="T35" fmla="*/ 23 h 23"/>
                <a:gd name="T36" fmla="*/ 32 w 79"/>
                <a:gd name="T37" fmla="*/ 21 h 23"/>
                <a:gd name="T38" fmla="*/ 26 w 79"/>
                <a:gd name="T39" fmla="*/ 20 h 23"/>
                <a:gd name="T40" fmla="*/ 23 w 79"/>
                <a:gd name="T41" fmla="*/ 19 h 23"/>
                <a:gd name="T42" fmla="*/ 19 w 79"/>
                <a:gd name="T43" fmla="*/ 18 h 23"/>
                <a:gd name="T44" fmla="*/ 14 w 79"/>
                <a:gd name="T45" fmla="*/ 18 h 23"/>
                <a:gd name="T46" fmla="*/ 9 w 79"/>
                <a:gd name="T47" fmla="*/ 20 h 23"/>
                <a:gd name="T48" fmla="*/ 0 w 79"/>
                <a:gd name="T4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03" name="Freeform 170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7331075" y="4919663"/>
              <a:ext cx="1588" cy="4762"/>
            </a:xfrm>
            <a:custGeom>
              <a:avLst/>
              <a:gdLst>
                <a:gd name="T0" fmla="*/ 0 h 6"/>
                <a:gd name="T1" fmla="*/ 6 h 6"/>
                <a:gd name="T2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04" name="Line 171"/>
            <p:cNvSpPr>
              <a:spLocks noChangeShapeType="1"/>
            </p:cNvSpPr>
            <p:nvPr>
              <p:custDataLst>
                <p:tags r:id="rId98"/>
              </p:custDataLst>
            </p:nvPr>
          </p:nvSpPr>
          <p:spPr bwMode="auto">
            <a:xfrm flipV="1">
              <a:off x="7421563" y="4918075"/>
              <a:ext cx="1587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05" name="Freeform 172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7421563" y="4918075"/>
              <a:ext cx="3175" cy="15875"/>
            </a:xfrm>
            <a:custGeom>
              <a:avLst/>
              <a:gdLst>
                <a:gd name="T0" fmla="*/ 0 w 5"/>
                <a:gd name="T1" fmla="*/ 0 h 30"/>
                <a:gd name="T2" fmla="*/ 2 w 5"/>
                <a:gd name="T3" fmla="*/ 1 h 30"/>
                <a:gd name="T4" fmla="*/ 4 w 5"/>
                <a:gd name="T5" fmla="*/ 4 h 30"/>
                <a:gd name="T6" fmla="*/ 5 w 5"/>
                <a:gd name="T7" fmla="*/ 8 h 30"/>
                <a:gd name="T8" fmla="*/ 5 w 5"/>
                <a:gd name="T9" fmla="*/ 13 h 30"/>
                <a:gd name="T10" fmla="*/ 5 w 5"/>
                <a:gd name="T11" fmla="*/ 18 h 30"/>
                <a:gd name="T12" fmla="*/ 4 w 5"/>
                <a:gd name="T13" fmla="*/ 23 h 30"/>
                <a:gd name="T14" fmla="*/ 2 w 5"/>
                <a:gd name="T15" fmla="*/ 27 h 30"/>
                <a:gd name="T16" fmla="*/ 0 w 5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06" name="Freeform 173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7720013" y="4387850"/>
              <a:ext cx="22225" cy="28575"/>
            </a:xfrm>
            <a:custGeom>
              <a:avLst/>
              <a:gdLst>
                <a:gd name="T0" fmla="*/ 0 w 53"/>
                <a:gd name="T1" fmla="*/ 12 h 55"/>
                <a:gd name="T2" fmla="*/ 1 w 53"/>
                <a:gd name="T3" fmla="*/ 17 h 55"/>
                <a:gd name="T4" fmla="*/ 5 w 53"/>
                <a:gd name="T5" fmla="*/ 22 h 55"/>
                <a:gd name="T6" fmla="*/ 9 w 53"/>
                <a:gd name="T7" fmla="*/ 27 h 55"/>
                <a:gd name="T8" fmla="*/ 15 w 53"/>
                <a:gd name="T9" fmla="*/ 33 h 55"/>
                <a:gd name="T10" fmla="*/ 26 w 53"/>
                <a:gd name="T11" fmla="*/ 44 h 55"/>
                <a:gd name="T12" fmla="*/ 33 w 53"/>
                <a:gd name="T13" fmla="*/ 55 h 55"/>
                <a:gd name="T14" fmla="*/ 53 w 53"/>
                <a:gd name="T15" fmla="*/ 55 h 55"/>
                <a:gd name="T16" fmla="*/ 40 w 53"/>
                <a:gd name="T17" fmla="*/ 41 h 55"/>
                <a:gd name="T18" fmla="*/ 28 w 53"/>
                <a:gd name="T19" fmla="*/ 29 h 55"/>
                <a:gd name="T20" fmla="*/ 23 w 53"/>
                <a:gd name="T21" fmla="*/ 23 h 55"/>
                <a:gd name="T22" fmla="*/ 19 w 53"/>
                <a:gd name="T23" fmla="*/ 16 h 55"/>
                <a:gd name="T24" fmla="*/ 16 w 53"/>
                <a:gd name="T25" fmla="*/ 8 h 55"/>
                <a:gd name="T26" fmla="*/ 14 w 53"/>
                <a:gd name="T27" fmla="*/ 0 h 55"/>
                <a:gd name="T28" fmla="*/ 7 w 53"/>
                <a:gd name="T29" fmla="*/ 6 h 55"/>
                <a:gd name="T30" fmla="*/ 0 w 53"/>
                <a:gd name="T31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07" name="Freeform 174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7726363" y="4314825"/>
              <a:ext cx="26987" cy="39688"/>
            </a:xfrm>
            <a:custGeom>
              <a:avLst/>
              <a:gdLst>
                <a:gd name="T0" fmla="*/ 0 w 65"/>
                <a:gd name="T1" fmla="*/ 32 h 75"/>
                <a:gd name="T2" fmla="*/ 9 w 65"/>
                <a:gd name="T3" fmla="*/ 43 h 75"/>
                <a:gd name="T4" fmla="*/ 20 w 65"/>
                <a:gd name="T5" fmla="*/ 55 h 75"/>
                <a:gd name="T6" fmla="*/ 26 w 65"/>
                <a:gd name="T7" fmla="*/ 61 h 75"/>
                <a:gd name="T8" fmla="*/ 32 w 65"/>
                <a:gd name="T9" fmla="*/ 67 h 75"/>
                <a:gd name="T10" fmla="*/ 39 w 65"/>
                <a:gd name="T11" fmla="*/ 71 h 75"/>
                <a:gd name="T12" fmla="*/ 46 w 65"/>
                <a:gd name="T13" fmla="*/ 75 h 75"/>
                <a:gd name="T14" fmla="*/ 51 w 65"/>
                <a:gd name="T15" fmla="*/ 61 h 75"/>
                <a:gd name="T16" fmla="*/ 58 w 65"/>
                <a:gd name="T17" fmla="*/ 48 h 75"/>
                <a:gd name="T18" fmla="*/ 61 w 65"/>
                <a:gd name="T19" fmla="*/ 42 h 75"/>
                <a:gd name="T20" fmla="*/ 63 w 65"/>
                <a:gd name="T21" fmla="*/ 36 h 75"/>
                <a:gd name="T22" fmla="*/ 65 w 65"/>
                <a:gd name="T23" fmla="*/ 31 h 75"/>
                <a:gd name="T24" fmla="*/ 65 w 65"/>
                <a:gd name="T25" fmla="*/ 26 h 75"/>
                <a:gd name="T26" fmla="*/ 65 w 65"/>
                <a:gd name="T27" fmla="*/ 21 h 75"/>
                <a:gd name="T28" fmla="*/ 63 w 65"/>
                <a:gd name="T29" fmla="*/ 18 h 75"/>
                <a:gd name="T30" fmla="*/ 61 w 65"/>
                <a:gd name="T31" fmla="*/ 13 h 75"/>
                <a:gd name="T32" fmla="*/ 58 w 65"/>
                <a:gd name="T33" fmla="*/ 10 h 75"/>
                <a:gd name="T34" fmla="*/ 51 w 65"/>
                <a:gd name="T35" fmla="*/ 5 h 75"/>
                <a:gd name="T36" fmla="*/ 46 w 65"/>
                <a:gd name="T37" fmla="*/ 0 h 75"/>
                <a:gd name="T38" fmla="*/ 34 w 65"/>
                <a:gd name="T39" fmla="*/ 0 h 75"/>
                <a:gd name="T40" fmla="*/ 26 w 65"/>
                <a:gd name="T41" fmla="*/ 0 h 75"/>
                <a:gd name="T42" fmla="*/ 25 w 65"/>
                <a:gd name="T43" fmla="*/ 2 h 75"/>
                <a:gd name="T44" fmla="*/ 24 w 65"/>
                <a:gd name="T45" fmla="*/ 7 h 75"/>
                <a:gd name="T46" fmla="*/ 23 w 65"/>
                <a:gd name="T47" fmla="*/ 9 h 75"/>
                <a:gd name="T48" fmla="*/ 23 w 65"/>
                <a:gd name="T49" fmla="*/ 11 h 75"/>
                <a:gd name="T50" fmla="*/ 24 w 65"/>
                <a:gd name="T51" fmla="*/ 12 h 75"/>
                <a:gd name="T52" fmla="*/ 26 w 65"/>
                <a:gd name="T53" fmla="*/ 1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08" name="Freeform 175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7702550" y="4291013"/>
              <a:ext cx="17463" cy="30162"/>
            </a:xfrm>
            <a:custGeom>
              <a:avLst/>
              <a:gdLst>
                <a:gd name="T0" fmla="*/ 0 w 40"/>
                <a:gd name="T1" fmla="*/ 62 h 62"/>
                <a:gd name="T2" fmla="*/ 3 w 40"/>
                <a:gd name="T3" fmla="*/ 52 h 62"/>
                <a:gd name="T4" fmla="*/ 7 w 40"/>
                <a:gd name="T5" fmla="*/ 43 h 62"/>
                <a:gd name="T6" fmla="*/ 12 w 40"/>
                <a:gd name="T7" fmla="*/ 33 h 62"/>
                <a:gd name="T8" fmla="*/ 17 w 40"/>
                <a:gd name="T9" fmla="*/ 25 h 62"/>
                <a:gd name="T10" fmla="*/ 23 w 40"/>
                <a:gd name="T11" fmla="*/ 17 h 62"/>
                <a:gd name="T12" fmla="*/ 29 w 40"/>
                <a:gd name="T13" fmla="*/ 9 h 62"/>
                <a:gd name="T14" fmla="*/ 35 w 40"/>
                <a:gd name="T15" fmla="*/ 3 h 62"/>
                <a:gd name="T16" fmla="*/ 40 w 40"/>
                <a:gd name="T1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09" name="Freeform 176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7621588" y="4168775"/>
              <a:ext cx="68262" cy="138113"/>
            </a:xfrm>
            <a:custGeom>
              <a:avLst/>
              <a:gdLst>
                <a:gd name="T0" fmla="*/ 159 w 159"/>
                <a:gd name="T1" fmla="*/ 259 h 259"/>
                <a:gd name="T2" fmla="*/ 159 w 159"/>
                <a:gd name="T3" fmla="*/ 251 h 259"/>
                <a:gd name="T4" fmla="*/ 159 w 159"/>
                <a:gd name="T5" fmla="*/ 244 h 259"/>
                <a:gd name="T6" fmla="*/ 159 w 159"/>
                <a:gd name="T7" fmla="*/ 236 h 259"/>
                <a:gd name="T8" fmla="*/ 159 w 159"/>
                <a:gd name="T9" fmla="*/ 228 h 259"/>
                <a:gd name="T10" fmla="*/ 159 w 159"/>
                <a:gd name="T11" fmla="*/ 224 h 259"/>
                <a:gd name="T12" fmla="*/ 158 w 159"/>
                <a:gd name="T13" fmla="*/ 219 h 259"/>
                <a:gd name="T14" fmla="*/ 156 w 159"/>
                <a:gd name="T15" fmla="*/ 215 h 259"/>
                <a:gd name="T16" fmla="*/ 153 w 159"/>
                <a:gd name="T17" fmla="*/ 210 h 259"/>
                <a:gd name="T18" fmla="*/ 145 w 159"/>
                <a:gd name="T19" fmla="*/ 202 h 259"/>
                <a:gd name="T20" fmla="*/ 135 w 159"/>
                <a:gd name="T21" fmla="*/ 195 h 259"/>
                <a:gd name="T22" fmla="*/ 124 w 159"/>
                <a:gd name="T23" fmla="*/ 189 h 259"/>
                <a:gd name="T24" fmla="*/ 112 w 159"/>
                <a:gd name="T25" fmla="*/ 184 h 259"/>
                <a:gd name="T26" fmla="*/ 99 w 159"/>
                <a:gd name="T27" fmla="*/ 180 h 259"/>
                <a:gd name="T28" fmla="*/ 87 w 159"/>
                <a:gd name="T29" fmla="*/ 179 h 259"/>
                <a:gd name="T30" fmla="*/ 85 w 159"/>
                <a:gd name="T31" fmla="*/ 178 h 259"/>
                <a:gd name="T32" fmla="*/ 82 w 159"/>
                <a:gd name="T33" fmla="*/ 177 h 259"/>
                <a:gd name="T34" fmla="*/ 81 w 159"/>
                <a:gd name="T35" fmla="*/ 175 h 259"/>
                <a:gd name="T36" fmla="*/ 80 w 159"/>
                <a:gd name="T37" fmla="*/ 173 h 259"/>
                <a:gd name="T38" fmla="*/ 80 w 159"/>
                <a:gd name="T39" fmla="*/ 167 h 259"/>
                <a:gd name="T40" fmla="*/ 81 w 159"/>
                <a:gd name="T41" fmla="*/ 161 h 259"/>
                <a:gd name="T42" fmla="*/ 85 w 159"/>
                <a:gd name="T43" fmla="*/ 148 h 259"/>
                <a:gd name="T44" fmla="*/ 87 w 159"/>
                <a:gd name="T45" fmla="*/ 142 h 259"/>
                <a:gd name="T46" fmla="*/ 73 w 159"/>
                <a:gd name="T47" fmla="*/ 141 h 259"/>
                <a:gd name="T48" fmla="*/ 59 w 159"/>
                <a:gd name="T49" fmla="*/ 139 h 259"/>
                <a:gd name="T50" fmla="*/ 48 w 159"/>
                <a:gd name="T51" fmla="*/ 135 h 259"/>
                <a:gd name="T52" fmla="*/ 40 w 159"/>
                <a:gd name="T53" fmla="*/ 129 h 259"/>
                <a:gd name="T54" fmla="*/ 31 w 159"/>
                <a:gd name="T55" fmla="*/ 121 h 259"/>
                <a:gd name="T56" fmla="*/ 24 w 159"/>
                <a:gd name="T57" fmla="*/ 113 h 259"/>
                <a:gd name="T58" fmla="*/ 18 w 159"/>
                <a:gd name="T59" fmla="*/ 104 h 259"/>
                <a:gd name="T60" fmla="*/ 13 w 159"/>
                <a:gd name="T61" fmla="*/ 94 h 259"/>
                <a:gd name="T62" fmla="*/ 9 w 159"/>
                <a:gd name="T63" fmla="*/ 84 h 259"/>
                <a:gd name="T64" fmla="*/ 7 w 159"/>
                <a:gd name="T65" fmla="*/ 73 h 259"/>
                <a:gd name="T66" fmla="*/ 5 w 159"/>
                <a:gd name="T67" fmla="*/ 60 h 259"/>
                <a:gd name="T68" fmla="*/ 2 w 159"/>
                <a:gd name="T69" fmla="*/ 48 h 259"/>
                <a:gd name="T70" fmla="*/ 0 w 159"/>
                <a:gd name="T71" fmla="*/ 25 h 259"/>
                <a:gd name="T72" fmla="*/ 0 w 159"/>
                <a:gd name="T73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10" name="Line 177"/>
            <p:cNvSpPr>
              <a:spLocks noChangeShapeType="1"/>
            </p:cNvSpPr>
            <p:nvPr>
              <p:custDataLst>
                <p:tags r:id="rId104"/>
              </p:custDataLst>
            </p:nvPr>
          </p:nvSpPr>
          <p:spPr bwMode="auto">
            <a:xfrm flipH="1" flipV="1">
              <a:off x="7615238" y="4135438"/>
              <a:ext cx="6350" cy="3333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11" name="Freeform 178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7615238" y="4119563"/>
              <a:ext cx="6350" cy="15875"/>
            </a:xfrm>
            <a:custGeom>
              <a:avLst/>
              <a:gdLst>
                <a:gd name="T0" fmla="*/ 0 w 13"/>
                <a:gd name="T1" fmla="*/ 25 h 25"/>
                <a:gd name="T2" fmla="*/ 1 w 13"/>
                <a:gd name="T3" fmla="*/ 19 h 25"/>
                <a:gd name="T4" fmla="*/ 4 w 13"/>
                <a:gd name="T5" fmla="*/ 13 h 25"/>
                <a:gd name="T6" fmla="*/ 8 w 13"/>
                <a:gd name="T7" fmla="*/ 6 h 25"/>
                <a:gd name="T8" fmla="*/ 13 w 13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12" name="Line 179"/>
            <p:cNvSpPr>
              <a:spLocks noChangeShapeType="1"/>
            </p:cNvSpPr>
            <p:nvPr>
              <p:custDataLst>
                <p:tags r:id="rId106"/>
              </p:custDataLst>
            </p:nvPr>
          </p:nvSpPr>
          <p:spPr bwMode="auto">
            <a:xfrm flipV="1">
              <a:off x="7621588" y="4106863"/>
              <a:ext cx="0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13" name="Freeform 180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7575550" y="4040188"/>
              <a:ext cx="46038" cy="66675"/>
            </a:xfrm>
            <a:custGeom>
              <a:avLst/>
              <a:gdLst>
                <a:gd name="T0" fmla="*/ 100 w 100"/>
                <a:gd name="T1" fmla="*/ 123 h 123"/>
                <a:gd name="T2" fmla="*/ 90 w 100"/>
                <a:gd name="T3" fmla="*/ 122 h 123"/>
                <a:gd name="T4" fmla="*/ 76 w 100"/>
                <a:gd name="T5" fmla="*/ 119 h 123"/>
                <a:gd name="T6" fmla="*/ 60 w 100"/>
                <a:gd name="T7" fmla="*/ 114 h 123"/>
                <a:gd name="T8" fmla="*/ 43 w 100"/>
                <a:gd name="T9" fmla="*/ 107 h 123"/>
                <a:gd name="T10" fmla="*/ 34 w 100"/>
                <a:gd name="T11" fmla="*/ 103 h 123"/>
                <a:gd name="T12" fmla="*/ 27 w 100"/>
                <a:gd name="T13" fmla="*/ 99 h 123"/>
                <a:gd name="T14" fmla="*/ 20 w 100"/>
                <a:gd name="T15" fmla="*/ 94 h 123"/>
                <a:gd name="T16" fmla="*/ 13 w 100"/>
                <a:gd name="T17" fmla="*/ 89 h 123"/>
                <a:gd name="T18" fmla="*/ 8 w 100"/>
                <a:gd name="T19" fmla="*/ 84 h 123"/>
                <a:gd name="T20" fmla="*/ 4 w 100"/>
                <a:gd name="T21" fmla="*/ 79 h 123"/>
                <a:gd name="T22" fmla="*/ 1 w 100"/>
                <a:gd name="T23" fmla="*/ 73 h 123"/>
                <a:gd name="T24" fmla="*/ 0 w 100"/>
                <a:gd name="T25" fmla="*/ 68 h 123"/>
                <a:gd name="T26" fmla="*/ 2 w 100"/>
                <a:gd name="T27" fmla="*/ 55 h 123"/>
                <a:gd name="T28" fmla="*/ 7 w 100"/>
                <a:gd name="T29" fmla="*/ 36 h 123"/>
                <a:gd name="T30" fmla="*/ 11 w 100"/>
                <a:gd name="T31" fmla="*/ 17 h 123"/>
                <a:gd name="T32" fmla="*/ 13 w 100"/>
                <a:gd name="T33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14" name="Freeform 181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7589838" y="3983038"/>
              <a:ext cx="1587" cy="50800"/>
            </a:xfrm>
            <a:custGeom>
              <a:avLst/>
              <a:gdLst>
                <a:gd name="T0" fmla="*/ 5 w 5"/>
                <a:gd name="T1" fmla="*/ 0 h 99"/>
                <a:gd name="T2" fmla="*/ 4 w 5"/>
                <a:gd name="T3" fmla="*/ 34 h 99"/>
                <a:gd name="T4" fmla="*/ 1 w 5"/>
                <a:gd name="T5" fmla="*/ 59 h 99"/>
                <a:gd name="T6" fmla="*/ 0 w 5"/>
                <a:gd name="T7" fmla="*/ 69 h 99"/>
                <a:gd name="T8" fmla="*/ 0 w 5"/>
                <a:gd name="T9" fmla="*/ 78 h 99"/>
                <a:gd name="T10" fmla="*/ 2 w 5"/>
                <a:gd name="T11" fmla="*/ 87 h 99"/>
                <a:gd name="T12" fmla="*/ 5 w 5"/>
                <a:gd name="T13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15" name="Freeform 182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7596188" y="3976688"/>
              <a:ext cx="7937" cy="36512"/>
            </a:xfrm>
            <a:custGeom>
              <a:avLst/>
              <a:gdLst>
                <a:gd name="T0" fmla="*/ 14 w 14"/>
                <a:gd name="T1" fmla="*/ 0 h 68"/>
                <a:gd name="T2" fmla="*/ 8 w 14"/>
                <a:gd name="T3" fmla="*/ 16 h 68"/>
                <a:gd name="T4" fmla="*/ 4 w 14"/>
                <a:gd name="T5" fmla="*/ 33 h 68"/>
                <a:gd name="T6" fmla="*/ 2 w 14"/>
                <a:gd name="T7" fmla="*/ 52 h 68"/>
                <a:gd name="T8" fmla="*/ 0 w 14"/>
                <a:gd name="T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16" name="Freeform 183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7612063" y="3957638"/>
              <a:ext cx="1587" cy="22225"/>
            </a:xfrm>
            <a:custGeom>
              <a:avLst/>
              <a:gdLst>
                <a:gd name="T0" fmla="*/ 0 h 43"/>
                <a:gd name="T1" fmla="*/ 13 h 43"/>
                <a:gd name="T2" fmla="*/ 26 h 43"/>
                <a:gd name="T3" fmla="*/ 37 h 43"/>
                <a:gd name="T4" fmla="*/ 43 h 4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17" name="Line 184"/>
            <p:cNvSpPr>
              <a:spLocks noChangeShapeType="1"/>
            </p:cNvSpPr>
            <p:nvPr>
              <p:custDataLst>
                <p:tags r:id="rId111"/>
              </p:custDataLst>
            </p:nvPr>
          </p:nvSpPr>
          <p:spPr bwMode="auto">
            <a:xfrm flipV="1">
              <a:off x="7612063" y="3976688"/>
              <a:ext cx="1587" cy="317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18" name="Freeform 185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7596188" y="3960813"/>
              <a:ext cx="1587" cy="15875"/>
            </a:xfrm>
            <a:custGeom>
              <a:avLst/>
              <a:gdLst>
                <a:gd name="T0" fmla="*/ 31 h 31"/>
                <a:gd name="T1" fmla="*/ 22 h 31"/>
                <a:gd name="T2" fmla="*/ 15 h 31"/>
                <a:gd name="T3" fmla="*/ 8 h 31"/>
                <a:gd name="T4" fmla="*/ 0 h 3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19" name="Freeform 186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7316788" y="4949825"/>
              <a:ext cx="96837" cy="87313"/>
            </a:xfrm>
            <a:custGeom>
              <a:avLst/>
              <a:gdLst>
                <a:gd name="T0" fmla="*/ 19 w 225"/>
                <a:gd name="T1" fmla="*/ 158 h 167"/>
                <a:gd name="T2" fmla="*/ 7 w 225"/>
                <a:gd name="T3" fmla="*/ 142 h 167"/>
                <a:gd name="T4" fmla="*/ 0 w 225"/>
                <a:gd name="T5" fmla="*/ 130 h 167"/>
                <a:gd name="T6" fmla="*/ 1 w 225"/>
                <a:gd name="T7" fmla="*/ 108 h 167"/>
                <a:gd name="T8" fmla="*/ 11 w 225"/>
                <a:gd name="T9" fmla="*/ 68 h 167"/>
                <a:gd name="T10" fmla="*/ 24 w 225"/>
                <a:gd name="T11" fmla="*/ 39 h 167"/>
                <a:gd name="T12" fmla="*/ 34 w 225"/>
                <a:gd name="T13" fmla="*/ 21 h 167"/>
                <a:gd name="T14" fmla="*/ 44 w 225"/>
                <a:gd name="T15" fmla="*/ 9 h 167"/>
                <a:gd name="T16" fmla="*/ 54 w 225"/>
                <a:gd name="T17" fmla="*/ 1 h 167"/>
                <a:gd name="T18" fmla="*/ 65 w 225"/>
                <a:gd name="T19" fmla="*/ 1 h 167"/>
                <a:gd name="T20" fmla="*/ 76 w 225"/>
                <a:gd name="T21" fmla="*/ 3 h 167"/>
                <a:gd name="T22" fmla="*/ 88 w 225"/>
                <a:gd name="T23" fmla="*/ 8 h 167"/>
                <a:gd name="T24" fmla="*/ 100 w 225"/>
                <a:gd name="T25" fmla="*/ 17 h 167"/>
                <a:gd name="T26" fmla="*/ 112 w 225"/>
                <a:gd name="T27" fmla="*/ 24 h 167"/>
                <a:gd name="T28" fmla="*/ 128 w 225"/>
                <a:gd name="T29" fmla="*/ 24 h 167"/>
                <a:gd name="T30" fmla="*/ 145 w 225"/>
                <a:gd name="T31" fmla="*/ 19 h 167"/>
                <a:gd name="T32" fmla="*/ 165 w 225"/>
                <a:gd name="T33" fmla="*/ 7 h 167"/>
                <a:gd name="T34" fmla="*/ 225 w 225"/>
                <a:gd name="T35" fmla="*/ 0 h 167"/>
                <a:gd name="T36" fmla="*/ 215 w 225"/>
                <a:gd name="T37" fmla="*/ 22 h 167"/>
                <a:gd name="T38" fmla="*/ 201 w 225"/>
                <a:gd name="T39" fmla="*/ 41 h 167"/>
                <a:gd name="T40" fmla="*/ 168 w 225"/>
                <a:gd name="T41" fmla="*/ 72 h 167"/>
                <a:gd name="T42" fmla="*/ 138 w 225"/>
                <a:gd name="T43" fmla="*/ 100 h 167"/>
                <a:gd name="T44" fmla="*/ 129 w 225"/>
                <a:gd name="T45" fmla="*/ 114 h 167"/>
                <a:gd name="T46" fmla="*/ 126 w 225"/>
                <a:gd name="T47" fmla="*/ 130 h 167"/>
                <a:gd name="T48" fmla="*/ 123 w 225"/>
                <a:gd name="T49" fmla="*/ 126 h 167"/>
                <a:gd name="T50" fmla="*/ 120 w 225"/>
                <a:gd name="T51" fmla="*/ 117 h 167"/>
                <a:gd name="T52" fmla="*/ 106 w 225"/>
                <a:gd name="T53" fmla="*/ 121 h 167"/>
                <a:gd name="T54" fmla="*/ 97 w 225"/>
                <a:gd name="T55" fmla="*/ 128 h 167"/>
                <a:gd name="T56" fmla="*/ 80 w 225"/>
                <a:gd name="T57" fmla="*/ 145 h 167"/>
                <a:gd name="T58" fmla="*/ 71 w 225"/>
                <a:gd name="T59" fmla="*/ 153 h 167"/>
                <a:gd name="T60" fmla="*/ 60 w 225"/>
                <a:gd name="T61" fmla="*/ 160 h 167"/>
                <a:gd name="T62" fmla="*/ 46 w 225"/>
                <a:gd name="T63" fmla="*/ 165 h 167"/>
                <a:gd name="T64" fmla="*/ 26 w 225"/>
                <a:gd name="T65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20" name="Freeform 187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7454900" y="4168775"/>
              <a:ext cx="3175" cy="17463"/>
            </a:xfrm>
            <a:custGeom>
              <a:avLst/>
              <a:gdLst>
                <a:gd name="T0" fmla="*/ 0 w 7"/>
                <a:gd name="T1" fmla="*/ 31 h 31"/>
                <a:gd name="T2" fmla="*/ 5 w 7"/>
                <a:gd name="T3" fmla="*/ 22 h 31"/>
                <a:gd name="T4" fmla="*/ 6 w 7"/>
                <a:gd name="T5" fmla="*/ 13 h 31"/>
                <a:gd name="T6" fmla="*/ 7 w 7"/>
                <a:gd name="T7" fmla="*/ 6 h 31"/>
                <a:gd name="T8" fmla="*/ 7 w 7"/>
                <a:gd name="T9" fmla="*/ 0 h 31"/>
                <a:gd name="T10" fmla="*/ 6 w 7"/>
                <a:gd name="T11" fmla="*/ 6 h 31"/>
                <a:gd name="T12" fmla="*/ 4 w 7"/>
                <a:gd name="T13" fmla="*/ 13 h 31"/>
                <a:gd name="T14" fmla="*/ 1 w 7"/>
                <a:gd name="T15" fmla="*/ 22 h 31"/>
                <a:gd name="T16" fmla="*/ 0 w 7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21" name="Freeform 188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7388225" y="4090988"/>
              <a:ext cx="15875" cy="15875"/>
            </a:xfrm>
            <a:custGeom>
              <a:avLst/>
              <a:gdLst>
                <a:gd name="T0" fmla="*/ 33 w 33"/>
                <a:gd name="T1" fmla="*/ 31 h 31"/>
                <a:gd name="T2" fmla="*/ 33 w 33"/>
                <a:gd name="T3" fmla="*/ 0 h 31"/>
                <a:gd name="T4" fmla="*/ 27 w 33"/>
                <a:gd name="T5" fmla="*/ 0 h 31"/>
                <a:gd name="T6" fmla="*/ 22 w 33"/>
                <a:gd name="T7" fmla="*/ 2 h 31"/>
                <a:gd name="T8" fmla="*/ 16 w 33"/>
                <a:gd name="T9" fmla="*/ 5 h 31"/>
                <a:gd name="T10" fmla="*/ 11 w 33"/>
                <a:gd name="T11" fmla="*/ 8 h 31"/>
                <a:gd name="T12" fmla="*/ 6 w 33"/>
                <a:gd name="T13" fmla="*/ 12 h 31"/>
                <a:gd name="T14" fmla="*/ 3 w 33"/>
                <a:gd name="T15" fmla="*/ 16 h 31"/>
                <a:gd name="T16" fmla="*/ 1 w 33"/>
                <a:gd name="T17" fmla="*/ 21 h 31"/>
                <a:gd name="T18" fmla="*/ 0 w 33"/>
                <a:gd name="T19" fmla="*/ 25 h 31"/>
                <a:gd name="T20" fmla="*/ 1 w 33"/>
                <a:gd name="T21" fmla="*/ 27 h 31"/>
                <a:gd name="T22" fmla="*/ 3 w 33"/>
                <a:gd name="T23" fmla="*/ 29 h 31"/>
                <a:gd name="T24" fmla="*/ 6 w 33"/>
                <a:gd name="T25" fmla="*/ 30 h 31"/>
                <a:gd name="T26" fmla="*/ 11 w 33"/>
                <a:gd name="T27" fmla="*/ 30 h 31"/>
                <a:gd name="T28" fmla="*/ 22 w 33"/>
                <a:gd name="T29" fmla="*/ 31 h 31"/>
                <a:gd name="T30" fmla="*/ 33 w 33"/>
                <a:gd name="T3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22" name="Freeform 189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7404100" y="4003675"/>
              <a:ext cx="3175" cy="9525"/>
            </a:xfrm>
            <a:custGeom>
              <a:avLst/>
              <a:gdLst>
                <a:gd name="T0" fmla="*/ 0 w 13"/>
                <a:gd name="T1" fmla="*/ 19 h 19"/>
                <a:gd name="T2" fmla="*/ 2 w 13"/>
                <a:gd name="T3" fmla="*/ 18 h 19"/>
                <a:gd name="T4" fmla="*/ 5 w 13"/>
                <a:gd name="T5" fmla="*/ 17 h 19"/>
                <a:gd name="T6" fmla="*/ 7 w 13"/>
                <a:gd name="T7" fmla="*/ 15 h 19"/>
                <a:gd name="T8" fmla="*/ 8 w 13"/>
                <a:gd name="T9" fmla="*/ 12 h 19"/>
                <a:gd name="T10" fmla="*/ 12 w 13"/>
                <a:gd name="T11" fmla="*/ 6 h 19"/>
                <a:gd name="T12" fmla="*/ 13 w 13"/>
                <a:gd name="T13" fmla="*/ 0 h 19"/>
                <a:gd name="T14" fmla="*/ 0 w 13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23" name="Freeform 190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7243763" y="4006850"/>
              <a:ext cx="36512" cy="22225"/>
            </a:xfrm>
            <a:custGeom>
              <a:avLst/>
              <a:gdLst>
                <a:gd name="T0" fmla="*/ 54 w 87"/>
                <a:gd name="T1" fmla="*/ 42 h 42"/>
                <a:gd name="T2" fmla="*/ 59 w 87"/>
                <a:gd name="T3" fmla="*/ 42 h 42"/>
                <a:gd name="T4" fmla="*/ 64 w 87"/>
                <a:gd name="T5" fmla="*/ 41 h 42"/>
                <a:gd name="T6" fmla="*/ 68 w 87"/>
                <a:gd name="T7" fmla="*/ 40 h 42"/>
                <a:gd name="T8" fmla="*/ 71 w 87"/>
                <a:gd name="T9" fmla="*/ 38 h 42"/>
                <a:gd name="T10" fmla="*/ 75 w 87"/>
                <a:gd name="T11" fmla="*/ 34 h 42"/>
                <a:gd name="T12" fmla="*/ 78 w 87"/>
                <a:gd name="T13" fmla="*/ 28 h 42"/>
                <a:gd name="T14" fmla="*/ 79 w 87"/>
                <a:gd name="T15" fmla="*/ 22 h 42"/>
                <a:gd name="T16" fmla="*/ 80 w 87"/>
                <a:gd name="T17" fmla="*/ 16 h 42"/>
                <a:gd name="T18" fmla="*/ 82 w 87"/>
                <a:gd name="T19" fmla="*/ 11 h 42"/>
                <a:gd name="T20" fmla="*/ 87 w 87"/>
                <a:gd name="T21" fmla="*/ 6 h 42"/>
                <a:gd name="T22" fmla="*/ 77 w 87"/>
                <a:gd name="T23" fmla="*/ 2 h 42"/>
                <a:gd name="T24" fmla="*/ 67 w 87"/>
                <a:gd name="T25" fmla="*/ 0 h 42"/>
                <a:gd name="T26" fmla="*/ 57 w 87"/>
                <a:gd name="T27" fmla="*/ 0 h 42"/>
                <a:gd name="T28" fmla="*/ 47 w 87"/>
                <a:gd name="T29" fmla="*/ 0 h 42"/>
                <a:gd name="T30" fmla="*/ 40 w 87"/>
                <a:gd name="T31" fmla="*/ 0 h 42"/>
                <a:gd name="T32" fmla="*/ 32 w 87"/>
                <a:gd name="T33" fmla="*/ 2 h 42"/>
                <a:gd name="T34" fmla="*/ 25 w 87"/>
                <a:gd name="T35" fmla="*/ 4 h 42"/>
                <a:gd name="T36" fmla="*/ 19 w 87"/>
                <a:gd name="T37" fmla="*/ 6 h 42"/>
                <a:gd name="T38" fmla="*/ 8 w 87"/>
                <a:gd name="T39" fmla="*/ 12 h 42"/>
                <a:gd name="T40" fmla="*/ 0 w 87"/>
                <a:gd name="T41" fmla="*/ 18 h 42"/>
                <a:gd name="T42" fmla="*/ 11 w 87"/>
                <a:gd name="T43" fmla="*/ 24 h 42"/>
                <a:gd name="T44" fmla="*/ 27 w 87"/>
                <a:gd name="T45" fmla="*/ 32 h 42"/>
                <a:gd name="T46" fmla="*/ 43 w 87"/>
                <a:gd name="T47" fmla="*/ 39 h 42"/>
                <a:gd name="T48" fmla="*/ 54 w 87"/>
                <a:gd name="T4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24" name="Freeform 191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7488238" y="4470400"/>
              <a:ext cx="1587" cy="14288"/>
            </a:xfrm>
            <a:custGeom>
              <a:avLst/>
              <a:gdLst>
                <a:gd name="T0" fmla="*/ 0 w 7"/>
                <a:gd name="T1" fmla="*/ 0 h 31"/>
                <a:gd name="T2" fmla="*/ 7 w 7"/>
                <a:gd name="T3" fmla="*/ 0 h 31"/>
                <a:gd name="T4" fmla="*/ 7 w 7"/>
                <a:gd name="T5" fmla="*/ 18 h 31"/>
                <a:gd name="T6" fmla="*/ 0 w 7"/>
                <a:gd name="T7" fmla="*/ 31 h 31"/>
                <a:gd name="T8" fmla="*/ 0 w 7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25" name="Freeform 192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6724650" y="3976688"/>
              <a:ext cx="1019175" cy="908050"/>
            </a:xfrm>
            <a:custGeom>
              <a:avLst/>
              <a:gdLst>
                <a:gd name="T0" fmla="*/ 214 w 2332"/>
                <a:gd name="T1" fmla="*/ 707 h 1731"/>
                <a:gd name="T2" fmla="*/ 325 w 2332"/>
                <a:gd name="T3" fmla="*/ 649 h 1731"/>
                <a:gd name="T4" fmla="*/ 435 w 2332"/>
                <a:gd name="T5" fmla="*/ 606 h 1731"/>
                <a:gd name="T6" fmla="*/ 605 w 2332"/>
                <a:gd name="T7" fmla="*/ 570 h 1731"/>
                <a:gd name="T8" fmla="*/ 677 w 2332"/>
                <a:gd name="T9" fmla="*/ 437 h 1731"/>
                <a:gd name="T10" fmla="*/ 758 w 2332"/>
                <a:gd name="T11" fmla="*/ 439 h 1731"/>
                <a:gd name="T12" fmla="*/ 784 w 2332"/>
                <a:gd name="T13" fmla="*/ 363 h 1731"/>
                <a:gd name="T14" fmla="*/ 866 w 2332"/>
                <a:gd name="T15" fmla="*/ 316 h 1731"/>
                <a:gd name="T16" fmla="*/ 939 w 2332"/>
                <a:gd name="T17" fmla="*/ 246 h 1731"/>
                <a:gd name="T18" fmla="*/ 1027 w 2332"/>
                <a:gd name="T19" fmla="*/ 223 h 1731"/>
                <a:gd name="T20" fmla="*/ 1078 w 2332"/>
                <a:gd name="T21" fmla="*/ 284 h 1731"/>
                <a:gd name="T22" fmla="*/ 1135 w 2332"/>
                <a:gd name="T23" fmla="*/ 270 h 1731"/>
                <a:gd name="T24" fmla="*/ 1176 w 2332"/>
                <a:gd name="T25" fmla="*/ 172 h 1731"/>
                <a:gd name="T26" fmla="*/ 1320 w 2332"/>
                <a:gd name="T27" fmla="*/ 117 h 1731"/>
                <a:gd name="T28" fmla="*/ 1336 w 2332"/>
                <a:gd name="T29" fmla="*/ 41 h 1731"/>
                <a:gd name="T30" fmla="*/ 1432 w 2332"/>
                <a:gd name="T31" fmla="*/ 107 h 1731"/>
                <a:gd name="T32" fmla="*/ 1544 w 2332"/>
                <a:gd name="T33" fmla="*/ 117 h 1731"/>
                <a:gd name="T34" fmla="*/ 1465 w 2332"/>
                <a:gd name="T35" fmla="*/ 262 h 1731"/>
                <a:gd name="T36" fmla="*/ 1509 w 2332"/>
                <a:gd name="T37" fmla="*/ 333 h 1731"/>
                <a:gd name="T38" fmla="*/ 1582 w 2332"/>
                <a:gd name="T39" fmla="*/ 354 h 1731"/>
                <a:gd name="T40" fmla="*/ 1668 w 2332"/>
                <a:gd name="T41" fmla="*/ 423 h 1731"/>
                <a:gd name="T42" fmla="*/ 1764 w 2332"/>
                <a:gd name="T43" fmla="*/ 413 h 1731"/>
                <a:gd name="T44" fmla="*/ 1830 w 2332"/>
                <a:gd name="T45" fmla="*/ 205 h 1731"/>
                <a:gd name="T46" fmla="*/ 1904 w 2332"/>
                <a:gd name="T47" fmla="*/ 10 h 1731"/>
                <a:gd name="T48" fmla="*/ 1933 w 2332"/>
                <a:gd name="T49" fmla="*/ 80 h 1731"/>
                <a:gd name="T50" fmla="*/ 1944 w 2332"/>
                <a:gd name="T51" fmla="*/ 176 h 1731"/>
                <a:gd name="T52" fmla="*/ 1986 w 2332"/>
                <a:gd name="T53" fmla="*/ 240 h 1731"/>
                <a:gd name="T54" fmla="*/ 2040 w 2332"/>
                <a:gd name="T55" fmla="*/ 429 h 1731"/>
                <a:gd name="T56" fmla="*/ 2089 w 2332"/>
                <a:gd name="T57" fmla="*/ 540 h 1731"/>
                <a:gd name="T58" fmla="*/ 2163 w 2332"/>
                <a:gd name="T59" fmla="*/ 686 h 1731"/>
                <a:gd name="T60" fmla="*/ 2219 w 2332"/>
                <a:gd name="T61" fmla="*/ 769 h 1731"/>
                <a:gd name="T62" fmla="*/ 2332 w 2332"/>
                <a:gd name="T63" fmla="*/ 892 h 1731"/>
                <a:gd name="T64" fmla="*/ 2276 w 2332"/>
                <a:gd name="T65" fmla="*/ 1105 h 1731"/>
                <a:gd name="T66" fmla="*/ 2087 w 2332"/>
                <a:gd name="T67" fmla="*/ 1362 h 1731"/>
                <a:gd name="T68" fmla="*/ 2005 w 2332"/>
                <a:gd name="T69" fmla="*/ 1432 h 1731"/>
                <a:gd name="T70" fmla="*/ 1838 w 2332"/>
                <a:gd name="T71" fmla="*/ 1591 h 1731"/>
                <a:gd name="T72" fmla="*/ 1749 w 2332"/>
                <a:gd name="T73" fmla="*/ 1676 h 1731"/>
                <a:gd name="T74" fmla="*/ 1589 w 2332"/>
                <a:gd name="T75" fmla="*/ 1726 h 1731"/>
                <a:gd name="T76" fmla="*/ 1517 w 2332"/>
                <a:gd name="T77" fmla="*/ 1693 h 1731"/>
                <a:gd name="T78" fmla="*/ 1410 w 2332"/>
                <a:gd name="T79" fmla="*/ 1729 h 1731"/>
                <a:gd name="T80" fmla="*/ 1297 w 2332"/>
                <a:gd name="T81" fmla="*/ 1693 h 1731"/>
                <a:gd name="T82" fmla="*/ 1279 w 2332"/>
                <a:gd name="T83" fmla="*/ 1614 h 1731"/>
                <a:gd name="T84" fmla="*/ 1263 w 2332"/>
                <a:gd name="T85" fmla="*/ 1516 h 1731"/>
                <a:gd name="T86" fmla="*/ 1225 w 2332"/>
                <a:gd name="T87" fmla="*/ 1500 h 1731"/>
                <a:gd name="T88" fmla="*/ 1280 w 2332"/>
                <a:gd name="T89" fmla="*/ 1382 h 1731"/>
                <a:gd name="T90" fmla="*/ 1088 w 2332"/>
                <a:gd name="T91" fmla="*/ 1362 h 1731"/>
                <a:gd name="T92" fmla="*/ 961 w 2332"/>
                <a:gd name="T93" fmla="*/ 1282 h 1731"/>
                <a:gd name="T94" fmla="*/ 754 w 2332"/>
                <a:gd name="T95" fmla="*/ 1323 h 1731"/>
                <a:gd name="T96" fmla="*/ 507 w 2332"/>
                <a:gd name="T97" fmla="*/ 1419 h 1731"/>
                <a:gd name="T98" fmla="*/ 214 w 2332"/>
                <a:gd name="T99" fmla="*/ 1473 h 1731"/>
                <a:gd name="T100" fmla="*/ 55 w 2332"/>
                <a:gd name="T101" fmla="*/ 1490 h 1731"/>
                <a:gd name="T102" fmla="*/ 2 w 2332"/>
                <a:gd name="T103" fmla="*/ 1423 h 1731"/>
                <a:gd name="T104" fmla="*/ 97 w 2332"/>
                <a:gd name="T105" fmla="*/ 1344 h 1731"/>
                <a:gd name="T106" fmla="*/ 75 w 2332"/>
                <a:gd name="T107" fmla="*/ 1241 h 1731"/>
                <a:gd name="T108" fmla="*/ 113 w 2332"/>
                <a:gd name="T109" fmla="*/ 1170 h 1731"/>
                <a:gd name="T110" fmla="*/ 58 w 2332"/>
                <a:gd name="T111" fmla="*/ 943 h 1731"/>
                <a:gd name="T112" fmla="*/ 113 w 2332"/>
                <a:gd name="T113" fmla="*/ 964 h 1731"/>
                <a:gd name="T114" fmla="*/ 106 w 2332"/>
                <a:gd name="T115" fmla="*/ 862 h 1731"/>
                <a:gd name="T116" fmla="*/ 147 w 2332"/>
                <a:gd name="T117" fmla="*/ 765 h 1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26" name="Freeform 193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1211263" y="2643188"/>
              <a:ext cx="668337" cy="581025"/>
            </a:xfrm>
            <a:custGeom>
              <a:avLst/>
              <a:gdLst>
                <a:gd name="T0" fmla="*/ 1243 w 1535"/>
                <a:gd name="T1" fmla="*/ 925 h 1109"/>
                <a:gd name="T2" fmla="*/ 1299 w 1535"/>
                <a:gd name="T3" fmla="*/ 982 h 1109"/>
                <a:gd name="T4" fmla="*/ 1220 w 1535"/>
                <a:gd name="T5" fmla="*/ 999 h 1109"/>
                <a:gd name="T6" fmla="*/ 1177 w 1535"/>
                <a:gd name="T7" fmla="*/ 1095 h 1109"/>
                <a:gd name="T8" fmla="*/ 1065 w 1535"/>
                <a:gd name="T9" fmla="*/ 1006 h 1109"/>
                <a:gd name="T10" fmla="*/ 994 w 1535"/>
                <a:gd name="T11" fmla="*/ 1012 h 1109"/>
                <a:gd name="T12" fmla="*/ 913 w 1535"/>
                <a:gd name="T13" fmla="*/ 1039 h 1109"/>
                <a:gd name="T14" fmla="*/ 786 w 1535"/>
                <a:gd name="T15" fmla="*/ 971 h 1109"/>
                <a:gd name="T16" fmla="*/ 648 w 1535"/>
                <a:gd name="T17" fmla="*/ 917 h 1109"/>
                <a:gd name="T18" fmla="*/ 588 w 1535"/>
                <a:gd name="T19" fmla="*/ 883 h 1109"/>
                <a:gd name="T20" fmla="*/ 537 w 1535"/>
                <a:gd name="T21" fmla="*/ 835 h 1109"/>
                <a:gd name="T22" fmla="*/ 485 w 1535"/>
                <a:gd name="T23" fmla="*/ 826 h 1109"/>
                <a:gd name="T24" fmla="*/ 439 w 1535"/>
                <a:gd name="T25" fmla="*/ 757 h 1109"/>
                <a:gd name="T26" fmla="*/ 467 w 1535"/>
                <a:gd name="T27" fmla="*/ 705 h 1109"/>
                <a:gd name="T28" fmla="*/ 450 w 1535"/>
                <a:gd name="T29" fmla="*/ 601 h 1109"/>
                <a:gd name="T30" fmla="*/ 352 w 1535"/>
                <a:gd name="T31" fmla="*/ 468 h 1109"/>
                <a:gd name="T32" fmla="*/ 304 w 1535"/>
                <a:gd name="T33" fmla="*/ 426 h 1109"/>
                <a:gd name="T34" fmla="*/ 293 w 1535"/>
                <a:gd name="T35" fmla="*/ 369 h 1109"/>
                <a:gd name="T36" fmla="*/ 217 w 1535"/>
                <a:gd name="T37" fmla="*/ 248 h 1109"/>
                <a:gd name="T38" fmla="*/ 167 w 1535"/>
                <a:gd name="T39" fmla="*/ 74 h 1109"/>
                <a:gd name="T40" fmla="*/ 84 w 1535"/>
                <a:gd name="T41" fmla="*/ 104 h 1109"/>
                <a:gd name="T42" fmla="*/ 113 w 1535"/>
                <a:gd name="T43" fmla="*/ 222 h 1109"/>
                <a:gd name="T44" fmla="*/ 150 w 1535"/>
                <a:gd name="T45" fmla="*/ 326 h 1109"/>
                <a:gd name="T46" fmla="*/ 196 w 1535"/>
                <a:gd name="T47" fmla="*/ 402 h 1109"/>
                <a:gd name="T48" fmla="*/ 200 w 1535"/>
                <a:gd name="T49" fmla="*/ 465 h 1109"/>
                <a:gd name="T50" fmla="*/ 213 w 1535"/>
                <a:gd name="T51" fmla="*/ 524 h 1109"/>
                <a:gd name="T52" fmla="*/ 259 w 1535"/>
                <a:gd name="T53" fmla="*/ 571 h 1109"/>
                <a:gd name="T54" fmla="*/ 214 w 1535"/>
                <a:gd name="T55" fmla="*/ 596 h 1109"/>
                <a:gd name="T56" fmla="*/ 193 w 1535"/>
                <a:gd name="T57" fmla="*/ 542 h 1109"/>
                <a:gd name="T58" fmla="*/ 120 w 1535"/>
                <a:gd name="T59" fmla="*/ 474 h 1109"/>
                <a:gd name="T60" fmla="*/ 146 w 1535"/>
                <a:gd name="T61" fmla="*/ 420 h 1109"/>
                <a:gd name="T62" fmla="*/ 89 w 1535"/>
                <a:gd name="T63" fmla="*/ 366 h 1109"/>
                <a:gd name="T64" fmla="*/ 27 w 1535"/>
                <a:gd name="T65" fmla="*/ 307 h 1109"/>
                <a:gd name="T66" fmla="*/ 65 w 1535"/>
                <a:gd name="T67" fmla="*/ 289 h 1109"/>
                <a:gd name="T68" fmla="*/ 64 w 1535"/>
                <a:gd name="T69" fmla="*/ 225 h 1109"/>
                <a:gd name="T70" fmla="*/ 6 w 1535"/>
                <a:gd name="T71" fmla="*/ 117 h 1109"/>
                <a:gd name="T72" fmla="*/ 38 w 1535"/>
                <a:gd name="T73" fmla="*/ 5 h 1109"/>
                <a:gd name="T74" fmla="*/ 211 w 1535"/>
                <a:gd name="T75" fmla="*/ 18 h 1109"/>
                <a:gd name="T76" fmla="*/ 361 w 1535"/>
                <a:gd name="T77" fmla="*/ 76 h 1109"/>
                <a:gd name="T78" fmla="*/ 498 w 1535"/>
                <a:gd name="T79" fmla="*/ 55 h 1109"/>
                <a:gd name="T80" fmla="*/ 593 w 1535"/>
                <a:gd name="T81" fmla="*/ 54 h 1109"/>
                <a:gd name="T82" fmla="*/ 633 w 1535"/>
                <a:gd name="T83" fmla="*/ 110 h 1109"/>
                <a:gd name="T84" fmla="*/ 700 w 1535"/>
                <a:gd name="T85" fmla="*/ 215 h 1109"/>
                <a:gd name="T86" fmla="*/ 750 w 1535"/>
                <a:gd name="T87" fmla="*/ 192 h 1109"/>
                <a:gd name="T88" fmla="*/ 822 w 1535"/>
                <a:gd name="T89" fmla="*/ 176 h 1109"/>
                <a:gd name="T90" fmla="*/ 879 w 1535"/>
                <a:gd name="T91" fmla="*/ 244 h 1109"/>
                <a:gd name="T92" fmla="*/ 905 w 1535"/>
                <a:gd name="T93" fmla="*/ 362 h 1109"/>
                <a:gd name="T94" fmla="*/ 964 w 1535"/>
                <a:gd name="T95" fmla="*/ 405 h 1109"/>
                <a:gd name="T96" fmla="*/ 977 w 1535"/>
                <a:gd name="T97" fmla="*/ 456 h 1109"/>
                <a:gd name="T98" fmla="*/ 931 w 1535"/>
                <a:gd name="T99" fmla="*/ 492 h 1109"/>
                <a:gd name="T100" fmla="*/ 917 w 1535"/>
                <a:gd name="T101" fmla="*/ 634 h 1109"/>
                <a:gd name="T102" fmla="*/ 956 w 1535"/>
                <a:gd name="T103" fmla="*/ 791 h 1109"/>
                <a:gd name="T104" fmla="*/ 1054 w 1535"/>
                <a:gd name="T105" fmla="*/ 877 h 1109"/>
                <a:gd name="T106" fmla="*/ 1166 w 1535"/>
                <a:gd name="T107" fmla="*/ 849 h 1109"/>
                <a:gd name="T108" fmla="*/ 1249 w 1535"/>
                <a:gd name="T109" fmla="*/ 850 h 1109"/>
                <a:gd name="T110" fmla="*/ 1296 w 1535"/>
                <a:gd name="T111" fmla="*/ 742 h 1109"/>
                <a:gd name="T112" fmla="*/ 1336 w 1535"/>
                <a:gd name="T113" fmla="*/ 693 h 1109"/>
                <a:gd name="T114" fmla="*/ 1506 w 1535"/>
                <a:gd name="T115" fmla="*/ 678 h 1109"/>
                <a:gd name="T116" fmla="*/ 1503 w 1535"/>
                <a:gd name="T117" fmla="*/ 729 h 1109"/>
                <a:gd name="T118" fmla="*/ 1468 w 1535"/>
                <a:gd name="T119" fmla="*/ 821 h 1109"/>
                <a:gd name="T120" fmla="*/ 1369 w 1535"/>
                <a:gd name="T121" fmla="*/ 888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algn="ctr"/>
              <a:endParaRPr lang="de-DE" sz="3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27" name="Freeform 194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2486025" y="4283075"/>
              <a:ext cx="211138" cy="265113"/>
            </a:xfrm>
            <a:custGeom>
              <a:avLst/>
              <a:gdLst>
                <a:gd name="T0" fmla="*/ 14 w 486"/>
                <a:gd name="T1" fmla="*/ 176 h 505"/>
                <a:gd name="T2" fmla="*/ 31 w 486"/>
                <a:gd name="T3" fmla="*/ 198 h 505"/>
                <a:gd name="T4" fmla="*/ 51 w 486"/>
                <a:gd name="T5" fmla="*/ 232 h 505"/>
                <a:gd name="T6" fmla="*/ 82 w 486"/>
                <a:gd name="T7" fmla="*/ 266 h 505"/>
                <a:gd name="T8" fmla="*/ 126 w 486"/>
                <a:gd name="T9" fmla="*/ 293 h 505"/>
                <a:gd name="T10" fmla="*/ 170 w 486"/>
                <a:gd name="T11" fmla="*/ 310 h 505"/>
                <a:gd name="T12" fmla="*/ 246 w 486"/>
                <a:gd name="T13" fmla="*/ 328 h 505"/>
                <a:gd name="T14" fmla="*/ 295 w 486"/>
                <a:gd name="T15" fmla="*/ 344 h 505"/>
                <a:gd name="T16" fmla="*/ 299 w 486"/>
                <a:gd name="T17" fmla="*/ 381 h 505"/>
                <a:gd name="T18" fmla="*/ 277 w 486"/>
                <a:gd name="T19" fmla="*/ 418 h 505"/>
                <a:gd name="T20" fmla="*/ 267 w 486"/>
                <a:gd name="T21" fmla="*/ 443 h 505"/>
                <a:gd name="T22" fmla="*/ 266 w 486"/>
                <a:gd name="T23" fmla="*/ 463 h 505"/>
                <a:gd name="T24" fmla="*/ 278 w 486"/>
                <a:gd name="T25" fmla="*/ 482 h 505"/>
                <a:gd name="T26" fmla="*/ 299 w 486"/>
                <a:gd name="T27" fmla="*/ 494 h 505"/>
                <a:gd name="T28" fmla="*/ 344 w 486"/>
                <a:gd name="T29" fmla="*/ 504 h 505"/>
                <a:gd name="T30" fmla="*/ 387 w 486"/>
                <a:gd name="T31" fmla="*/ 504 h 505"/>
                <a:gd name="T32" fmla="*/ 415 w 486"/>
                <a:gd name="T33" fmla="*/ 494 h 505"/>
                <a:gd name="T34" fmla="*/ 446 w 486"/>
                <a:gd name="T35" fmla="*/ 474 h 505"/>
                <a:gd name="T36" fmla="*/ 473 w 486"/>
                <a:gd name="T37" fmla="*/ 447 h 505"/>
                <a:gd name="T38" fmla="*/ 485 w 486"/>
                <a:gd name="T39" fmla="*/ 418 h 505"/>
                <a:gd name="T40" fmla="*/ 484 w 486"/>
                <a:gd name="T41" fmla="*/ 397 h 505"/>
                <a:gd name="T42" fmla="*/ 478 w 486"/>
                <a:gd name="T43" fmla="*/ 358 h 505"/>
                <a:gd name="T44" fmla="*/ 471 w 486"/>
                <a:gd name="T45" fmla="*/ 316 h 505"/>
                <a:gd name="T46" fmla="*/ 465 w 486"/>
                <a:gd name="T47" fmla="*/ 270 h 505"/>
                <a:gd name="T48" fmla="*/ 456 w 486"/>
                <a:gd name="T49" fmla="*/ 252 h 505"/>
                <a:gd name="T50" fmla="*/ 439 w 486"/>
                <a:gd name="T51" fmla="*/ 239 h 505"/>
                <a:gd name="T52" fmla="*/ 413 w 486"/>
                <a:gd name="T53" fmla="*/ 232 h 505"/>
                <a:gd name="T54" fmla="*/ 392 w 486"/>
                <a:gd name="T55" fmla="*/ 222 h 505"/>
                <a:gd name="T56" fmla="*/ 370 w 486"/>
                <a:gd name="T57" fmla="*/ 207 h 505"/>
                <a:gd name="T58" fmla="*/ 330 w 486"/>
                <a:gd name="T59" fmla="*/ 188 h 505"/>
                <a:gd name="T60" fmla="*/ 290 w 486"/>
                <a:gd name="T61" fmla="*/ 172 h 505"/>
                <a:gd name="T62" fmla="*/ 273 w 486"/>
                <a:gd name="T63" fmla="*/ 160 h 505"/>
                <a:gd name="T64" fmla="*/ 264 w 486"/>
                <a:gd name="T65" fmla="*/ 151 h 505"/>
                <a:gd name="T66" fmla="*/ 261 w 486"/>
                <a:gd name="T67" fmla="*/ 125 h 505"/>
                <a:gd name="T68" fmla="*/ 261 w 486"/>
                <a:gd name="T69" fmla="*/ 90 h 505"/>
                <a:gd name="T70" fmla="*/ 255 w 486"/>
                <a:gd name="T71" fmla="*/ 71 h 505"/>
                <a:gd name="T72" fmla="*/ 241 w 486"/>
                <a:gd name="T73" fmla="*/ 55 h 505"/>
                <a:gd name="T74" fmla="*/ 234 w 486"/>
                <a:gd name="T75" fmla="*/ 37 h 505"/>
                <a:gd name="T76" fmla="*/ 199 w 486"/>
                <a:gd name="T77" fmla="*/ 12 h 505"/>
                <a:gd name="T78" fmla="*/ 186 w 486"/>
                <a:gd name="T79" fmla="*/ 8 h 505"/>
                <a:gd name="T80" fmla="*/ 173 w 486"/>
                <a:gd name="T81" fmla="*/ 2 h 505"/>
                <a:gd name="T82" fmla="*/ 139 w 486"/>
                <a:gd name="T83" fmla="*/ 1 h 505"/>
                <a:gd name="T84" fmla="*/ 70 w 486"/>
                <a:gd name="T85" fmla="*/ 11 h 505"/>
                <a:gd name="T86" fmla="*/ 42 w 486"/>
                <a:gd name="T87" fmla="*/ 21 h 505"/>
                <a:gd name="T88" fmla="*/ 24 w 486"/>
                <a:gd name="T89" fmla="*/ 37 h 505"/>
                <a:gd name="T90" fmla="*/ 20 w 486"/>
                <a:gd name="T91" fmla="*/ 64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28" name="Freeform 195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2655888" y="3487738"/>
              <a:ext cx="73025" cy="109537"/>
            </a:xfrm>
            <a:custGeom>
              <a:avLst/>
              <a:gdLst>
                <a:gd name="T0" fmla="*/ 7 w 166"/>
                <a:gd name="T1" fmla="*/ 183 h 208"/>
                <a:gd name="T2" fmla="*/ 79 w 166"/>
                <a:gd name="T3" fmla="*/ 208 h 208"/>
                <a:gd name="T4" fmla="*/ 85 w 166"/>
                <a:gd name="T5" fmla="*/ 207 h 208"/>
                <a:gd name="T6" fmla="*/ 90 w 166"/>
                <a:gd name="T7" fmla="*/ 204 h 208"/>
                <a:gd name="T8" fmla="*/ 97 w 166"/>
                <a:gd name="T9" fmla="*/ 198 h 208"/>
                <a:gd name="T10" fmla="*/ 104 w 166"/>
                <a:gd name="T11" fmla="*/ 192 h 208"/>
                <a:gd name="T12" fmla="*/ 117 w 166"/>
                <a:gd name="T13" fmla="*/ 176 h 208"/>
                <a:gd name="T14" fmla="*/ 130 w 166"/>
                <a:gd name="T15" fmla="*/ 158 h 208"/>
                <a:gd name="T16" fmla="*/ 154 w 166"/>
                <a:gd name="T17" fmla="*/ 122 h 208"/>
                <a:gd name="T18" fmla="*/ 166 w 166"/>
                <a:gd name="T19" fmla="*/ 103 h 208"/>
                <a:gd name="T20" fmla="*/ 144 w 166"/>
                <a:gd name="T21" fmla="*/ 94 h 208"/>
                <a:gd name="T22" fmla="*/ 126 w 166"/>
                <a:gd name="T23" fmla="*/ 84 h 208"/>
                <a:gd name="T24" fmla="*/ 108 w 166"/>
                <a:gd name="T25" fmla="*/ 74 h 208"/>
                <a:gd name="T26" fmla="*/ 93 w 166"/>
                <a:gd name="T27" fmla="*/ 64 h 208"/>
                <a:gd name="T28" fmla="*/ 86 w 166"/>
                <a:gd name="T29" fmla="*/ 58 h 208"/>
                <a:gd name="T30" fmla="*/ 81 w 166"/>
                <a:gd name="T31" fmla="*/ 53 h 208"/>
                <a:gd name="T32" fmla="*/ 75 w 166"/>
                <a:gd name="T33" fmla="*/ 47 h 208"/>
                <a:gd name="T34" fmla="*/ 71 w 166"/>
                <a:gd name="T35" fmla="*/ 40 h 208"/>
                <a:gd name="T36" fmla="*/ 67 w 166"/>
                <a:gd name="T37" fmla="*/ 33 h 208"/>
                <a:gd name="T38" fmla="*/ 64 w 166"/>
                <a:gd name="T39" fmla="*/ 26 h 208"/>
                <a:gd name="T40" fmla="*/ 62 w 166"/>
                <a:gd name="T41" fmla="*/ 18 h 208"/>
                <a:gd name="T42" fmla="*/ 60 w 166"/>
                <a:gd name="T43" fmla="*/ 11 h 208"/>
                <a:gd name="T44" fmla="*/ 50 w 166"/>
                <a:gd name="T45" fmla="*/ 10 h 208"/>
                <a:gd name="T46" fmla="*/ 43 w 166"/>
                <a:gd name="T47" fmla="*/ 8 h 208"/>
                <a:gd name="T48" fmla="*/ 40 w 166"/>
                <a:gd name="T49" fmla="*/ 5 h 208"/>
                <a:gd name="T50" fmla="*/ 39 w 166"/>
                <a:gd name="T51" fmla="*/ 3 h 208"/>
                <a:gd name="T52" fmla="*/ 38 w 166"/>
                <a:gd name="T53" fmla="*/ 1 h 208"/>
                <a:gd name="T54" fmla="*/ 36 w 166"/>
                <a:gd name="T55" fmla="*/ 0 h 208"/>
                <a:gd name="T56" fmla="*/ 32 w 166"/>
                <a:gd name="T57" fmla="*/ 1 h 208"/>
                <a:gd name="T58" fmla="*/ 27 w 166"/>
                <a:gd name="T59" fmla="*/ 5 h 208"/>
                <a:gd name="T60" fmla="*/ 20 w 166"/>
                <a:gd name="T61" fmla="*/ 11 h 208"/>
                <a:gd name="T62" fmla="*/ 11 w 166"/>
                <a:gd name="T63" fmla="*/ 22 h 208"/>
                <a:gd name="T64" fmla="*/ 7 w 166"/>
                <a:gd name="T65" fmla="*/ 29 h 208"/>
                <a:gd name="T66" fmla="*/ 4 w 166"/>
                <a:gd name="T67" fmla="*/ 37 h 208"/>
                <a:gd name="T68" fmla="*/ 2 w 166"/>
                <a:gd name="T69" fmla="*/ 45 h 208"/>
                <a:gd name="T70" fmla="*/ 0 w 166"/>
                <a:gd name="T71" fmla="*/ 54 h 208"/>
                <a:gd name="T72" fmla="*/ 0 w 166"/>
                <a:gd name="T73" fmla="*/ 60 h 208"/>
                <a:gd name="T74" fmla="*/ 2 w 166"/>
                <a:gd name="T75" fmla="*/ 65 h 208"/>
                <a:gd name="T76" fmla="*/ 3 w 166"/>
                <a:gd name="T77" fmla="*/ 70 h 208"/>
                <a:gd name="T78" fmla="*/ 5 w 166"/>
                <a:gd name="T79" fmla="*/ 76 h 208"/>
                <a:gd name="T80" fmla="*/ 10 w 166"/>
                <a:gd name="T81" fmla="*/ 86 h 208"/>
                <a:gd name="T82" fmla="*/ 17 w 166"/>
                <a:gd name="T83" fmla="*/ 98 h 208"/>
                <a:gd name="T84" fmla="*/ 22 w 166"/>
                <a:gd name="T85" fmla="*/ 109 h 208"/>
                <a:gd name="T86" fmla="*/ 28 w 166"/>
                <a:gd name="T87" fmla="*/ 120 h 208"/>
                <a:gd name="T88" fmla="*/ 30 w 166"/>
                <a:gd name="T89" fmla="*/ 126 h 208"/>
                <a:gd name="T90" fmla="*/ 32 w 166"/>
                <a:gd name="T91" fmla="*/ 133 h 208"/>
                <a:gd name="T92" fmla="*/ 33 w 166"/>
                <a:gd name="T93" fmla="*/ 139 h 208"/>
                <a:gd name="T94" fmla="*/ 33 w 166"/>
                <a:gd name="T95" fmla="*/ 147 h 208"/>
                <a:gd name="T96" fmla="*/ 32 w 166"/>
                <a:gd name="T97" fmla="*/ 153 h 208"/>
                <a:gd name="T98" fmla="*/ 31 w 166"/>
                <a:gd name="T99" fmla="*/ 159 h 208"/>
                <a:gd name="T100" fmla="*/ 28 w 166"/>
                <a:gd name="T101" fmla="*/ 165 h 208"/>
                <a:gd name="T102" fmla="*/ 25 w 166"/>
                <a:gd name="T103" fmla="*/ 169 h 208"/>
                <a:gd name="T104" fmla="*/ 21 w 166"/>
                <a:gd name="T105" fmla="*/ 174 h 208"/>
                <a:gd name="T106" fmla="*/ 17 w 166"/>
                <a:gd name="T107" fmla="*/ 177 h 208"/>
                <a:gd name="T108" fmla="*/ 11 w 166"/>
                <a:gd name="T109" fmla="*/ 180 h 208"/>
                <a:gd name="T110" fmla="*/ 7 w 166"/>
                <a:gd name="T111" fmla="*/ 183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29" name="Freeform 196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2170113" y="3046413"/>
              <a:ext cx="69850" cy="58737"/>
            </a:xfrm>
            <a:custGeom>
              <a:avLst/>
              <a:gdLst>
                <a:gd name="T0" fmla="*/ 153 w 164"/>
                <a:gd name="T1" fmla="*/ 104 h 104"/>
                <a:gd name="T2" fmla="*/ 134 w 164"/>
                <a:gd name="T3" fmla="*/ 102 h 104"/>
                <a:gd name="T4" fmla="*/ 110 w 164"/>
                <a:gd name="T5" fmla="*/ 97 h 104"/>
                <a:gd name="T6" fmla="*/ 96 w 164"/>
                <a:gd name="T7" fmla="*/ 94 h 104"/>
                <a:gd name="T8" fmla="*/ 80 w 164"/>
                <a:gd name="T9" fmla="*/ 93 h 104"/>
                <a:gd name="T10" fmla="*/ 73 w 164"/>
                <a:gd name="T11" fmla="*/ 93 h 104"/>
                <a:gd name="T12" fmla="*/ 64 w 164"/>
                <a:gd name="T13" fmla="*/ 94 h 104"/>
                <a:gd name="T14" fmla="*/ 55 w 164"/>
                <a:gd name="T15" fmla="*/ 96 h 104"/>
                <a:gd name="T16" fmla="*/ 47 w 164"/>
                <a:gd name="T17" fmla="*/ 98 h 104"/>
                <a:gd name="T18" fmla="*/ 41 w 164"/>
                <a:gd name="T19" fmla="*/ 100 h 104"/>
                <a:gd name="T20" fmla="*/ 34 w 164"/>
                <a:gd name="T21" fmla="*/ 100 h 104"/>
                <a:gd name="T22" fmla="*/ 27 w 164"/>
                <a:gd name="T23" fmla="*/ 99 h 104"/>
                <a:gd name="T24" fmla="*/ 19 w 164"/>
                <a:gd name="T25" fmla="*/ 96 h 104"/>
                <a:gd name="T26" fmla="*/ 11 w 164"/>
                <a:gd name="T27" fmla="*/ 92 h 104"/>
                <a:gd name="T28" fmla="*/ 6 w 164"/>
                <a:gd name="T29" fmla="*/ 88 h 104"/>
                <a:gd name="T30" fmla="*/ 3 w 164"/>
                <a:gd name="T31" fmla="*/ 86 h 104"/>
                <a:gd name="T32" fmla="*/ 1 w 164"/>
                <a:gd name="T33" fmla="*/ 84 h 104"/>
                <a:gd name="T34" fmla="*/ 0 w 164"/>
                <a:gd name="T35" fmla="*/ 81 h 104"/>
                <a:gd name="T36" fmla="*/ 0 w 164"/>
                <a:gd name="T37" fmla="*/ 79 h 104"/>
                <a:gd name="T38" fmla="*/ 0 w 164"/>
                <a:gd name="T39" fmla="*/ 76 h 104"/>
                <a:gd name="T40" fmla="*/ 1 w 164"/>
                <a:gd name="T41" fmla="*/ 74 h 104"/>
                <a:gd name="T42" fmla="*/ 3 w 164"/>
                <a:gd name="T43" fmla="*/ 71 h 104"/>
                <a:gd name="T44" fmla="*/ 6 w 164"/>
                <a:gd name="T45" fmla="*/ 70 h 104"/>
                <a:gd name="T46" fmla="*/ 12 w 164"/>
                <a:gd name="T47" fmla="*/ 67 h 104"/>
                <a:gd name="T48" fmla="*/ 20 w 164"/>
                <a:gd name="T49" fmla="*/ 66 h 104"/>
                <a:gd name="T50" fmla="*/ 40 w 164"/>
                <a:gd name="T51" fmla="*/ 66 h 104"/>
                <a:gd name="T52" fmla="*/ 61 w 164"/>
                <a:gd name="T53" fmla="*/ 67 h 104"/>
                <a:gd name="T54" fmla="*/ 70 w 164"/>
                <a:gd name="T55" fmla="*/ 67 h 104"/>
                <a:gd name="T56" fmla="*/ 79 w 164"/>
                <a:gd name="T57" fmla="*/ 67 h 104"/>
                <a:gd name="T58" fmla="*/ 87 w 164"/>
                <a:gd name="T59" fmla="*/ 67 h 104"/>
                <a:gd name="T60" fmla="*/ 94 w 164"/>
                <a:gd name="T61" fmla="*/ 67 h 104"/>
                <a:gd name="T62" fmla="*/ 94 w 164"/>
                <a:gd name="T63" fmla="*/ 56 h 104"/>
                <a:gd name="T64" fmla="*/ 94 w 164"/>
                <a:gd name="T65" fmla="*/ 43 h 104"/>
                <a:gd name="T66" fmla="*/ 94 w 164"/>
                <a:gd name="T67" fmla="*/ 29 h 104"/>
                <a:gd name="T68" fmla="*/ 94 w 164"/>
                <a:gd name="T69" fmla="*/ 18 h 104"/>
                <a:gd name="T70" fmla="*/ 79 w 164"/>
                <a:gd name="T71" fmla="*/ 17 h 104"/>
                <a:gd name="T72" fmla="*/ 67 w 164"/>
                <a:gd name="T73" fmla="*/ 15 h 104"/>
                <a:gd name="T74" fmla="*/ 62 w 164"/>
                <a:gd name="T75" fmla="*/ 13 h 104"/>
                <a:gd name="T76" fmla="*/ 57 w 164"/>
                <a:gd name="T77" fmla="*/ 10 h 104"/>
                <a:gd name="T78" fmla="*/ 52 w 164"/>
                <a:gd name="T79" fmla="*/ 6 h 104"/>
                <a:gd name="T80" fmla="*/ 47 w 164"/>
                <a:gd name="T81" fmla="*/ 0 h 104"/>
                <a:gd name="T82" fmla="*/ 146 w 164"/>
                <a:gd name="T83" fmla="*/ 0 h 104"/>
                <a:gd name="T84" fmla="*/ 147 w 164"/>
                <a:gd name="T85" fmla="*/ 6 h 104"/>
                <a:gd name="T86" fmla="*/ 148 w 164"/>
                <a:gd name="T87" fmla="*/ 13 h 104"/>
                <a:gd name="T88" fmla="*/ 150 w 164"/>
                <a:gd name="T89" fmla="*/ 19 h 104"/>
                <a:gd name="T90" fmla="*/ 152 w 164"/>
                <a:gd name="T91" fmla="*/ 25 h 104"/>
                <a:gd name="T92" fmla="*/ 156 w 164"/>
                <a:gd name="T93" fmla="*/ 35 h 104"/>
                <a:gd name="T94" fmla="*/ 159 w 164"/>
                <a:gd name="T95" fmla="*/ 46 h 104"/>
                <a:gd name="T96" fmla="*/ 163 w 164"/>
                <a:gd name="T97" fmla="*/ 54 h 104"/>
                <a:gd name="T98" fmla="*/ 164 w 164"/>
                <a:gd name="T99" fmla="*/ 62 h 104"/>
                <a:gd name="T100" fmla="*/ 163 w 164"/>
                <a:gd name="T101" fmla="*/ 65 h 104"/>
                <a:gd name="T102" fmla="*/ 160 w 164"/>
                <a:gd name="T103" fmla="*/ 68 h 104"/>
                <a:gd name="T104" fmla="*/ 157 w 164"/>
                <a:gd name="T105" fmla="*/ 71 h 104"/>
                <a:gd name="T106" fmla="*/ 153 w 164"/>
                <a:gd name="T107" fmla="*/ 73 h 104"/>
                <a:gd name="T108" fmla="*/ 153 w 164"/>
                <a:gd name="T109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30" name="Freeform 197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2536825" y="5400675"/>
              <a:ext cx="23813" cy="57150"/>
            </a:xfrm>
            <a:custGeom>
              <a:avLst/>
              <a:gdLst>
                <a:gd name="T0" fmla="*/ 0 w 53"/>
                <a:gd name="T1" fmla="*/ 8 h 19"/>
                <a:gd name="T2" fmla="*/ 7 w 53"/>
                <a:gd name="T3" fmla="*/ 13 h 19"/>
                <a:gd name="T4" fmla="*/ 14 w 53"/>
                <a:gd name="T5" fmla="*/ 17 h 19"/>
                <a:gd name="T6" fmla="*/ 22 w 53"/>
                <a:gd name="T7" fmla="*/ 19 h 19"/>
                <a:gd name="T8" fmla="*/ 29 w 53"/>
                <a:gd name="T9" fmla="*/ 19 h 19"/>
                <a:gd name="T10" fmla="*/ 35 w 53"/>
                <a:gd name="T11" fmla="*/ 18 h 19"/>
                <a:gd name="T12" fmla="*/ 42 w 53"/>
                <a:gd name="T13" fmla="*/ 15 h 19"/>
                <a:gd name="T14" fmla="*/ 47 w 53"/>
                <a:gd name="T15" fmla="*/ 12 h 19"/>
                <a:gd name="T16" fmla="*/ 53 w 53"/>
                <a:gd name="T17" fmla="*/ 8 h 19"/>
                <a:gd name="T18" fmla="*/ 47 w 53"/>
                <a:gd name="T19" fmla="*/ 5 h 19"/>
                <a:gd name="T20" fmla="*/ 42 w 53"/>
                <a:gd name="T21" fmla="*/ 2 h 19"/>
                <a:gd name="T22" fmla="*/ 35 w 53"/>
                <a:gd name="T23" fmla="*/ 1 h 19"/>
                <a:gd name="T24" fmla="*/ 29 w 53"/>
                <a:gd name="T25" fmla="*/ 0 h 19"/>
                <a:gd name="T26" fmla="*/ 22 w 53"/>
                <a:gd name="T27" fmla="*/ 0 h 19"/>
                <a:gd name="T28" fmla="*/ 14 w 53"/>
                <a:gd name="T29" fmla="*/ 1 h 19"/>
                <a:gd name="T30" fmla="*/ 7 w 53"/>
                <a:gd name="T31" fmla="*/ 3 h 19"/>
                <a:gd name="T32" fmla="*/ 0 w 53"/>
                <a:gd name="T3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31" name="Freeform 198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2501900" y="5380038"/>
              <a:ext cx="34925" cy="58737"/>
            </a:xfrm>
            <a:custGeom>
              <a:avLst/>
              <a:gdLst>
                <a:gd name="T0" fmla="*/ 0 w 80"/>
                <a:gd name="T1" fmla="*/ 0 h 18"/>
                <a:gd name="T2" fmla="*/ 1 w 80"/>
                <a:gd name="T3" fmla="*/ 6 h 18"/>
                <a:gd name="T4" fmla="*/ 5 w 80"/>
                <a:gd name="T5" fmla="*/ 12 h 18"/>
                <a:gd name="T6" fmla="*/ 8 w 80"/>
                <a:gd name="T7" fmla="*/ 14 h 18"/>
                <a:gd name="T8" fmla="*/ 11 w 80"/>
                <a:gd name="T9" fmla="*/ 16 h 18"/>
                <a:gd name="T10" fmla="*/ 15 w 80"/>
                <a:gd name="T11" fmla="*/ 18 h 18"/>
                <a:gd name="T12" fmla="*/ 20 w 80"/>
                <a:gd name="T13" fmla="*/ 18 h 18"/>
                <a:gd name="T14" fmla="*/ 22 w 80"/>
                <a:gd name="T15" fmla="*/ 15 h 18"/>
                <a:gd name="T16" fmla="*/ 24 w 80"/>
                <a:gd name="T17" fmla="*/ 13 h 18"/>
                <a:gd name="T18" fmla="*/ 26 w 80"/>
                <a:gd name="T19" fmla="*/ 11 h 18"/>
                <a:gd name="T20" fmla="*/ 31 w 80"/>
                <a:gd name="T21" fmla="*/ 10 h 18"/>
                <a:gd name="T22" fmla="*/ 38 w 80"/>
                <a:gd name="T23" fmla="*/ 8 h 18"/>
                <a:gd name="T24" fmla="*/ 47 w 80"/>
                <a:gd name="T25" fmla="*/ 7 h 18"/>
                <a:gd name="T26" fmla="*/ 57 w 80"/>
                <a:gd name="T27" fmla="*/ 7 h 18"/>
                <a:gd name="T28" fmla="*/ 66 w 80"/>
                <a:gd name="T29" fmla="*/ 6 h 18"/>
                <a:gd name="T30" fmla="*/ 70 w 80"/>
                <a:gd name="T31" fmla="*/ 5 h 18"/>
                <a:gd name="T32" fmla="*/ 74 w 80"/>
                <a:gd name="T33" fmla="*/ 4 h 18"/>
                <a:gd name="T34" fmla="*/ 77 w 80"/>
                <a:gd name="T35" fmla="*/ 2 h 18"/>
                <a:gd name="T36" fmla="*/ 80 w 80"/>
                <a:gd name="T37" fmla="*/ 0 h 18"/>
                <a:gd name="T38" fmla="*/ 0 w 80"/>
                <a:gd name="T3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32" name="Freeform 199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2501900" y="5359400"/>
              <a:ext cx="22225" cy="60325"/>
            </a:xfrm>
            <a:custGeom>
              <a:avLst/>
              <a:gdLst>
                <a:gd name="T0" fmla="*/ 20 w 46"/>
                <a:gd name="T1" fmla="*/ 0 h 27"/>
                <a:gd name="T2" fmla="*/ 0 w 46"/>
                <a:gd name="T3" fmla="*/ 18 h 27"/>
                <a:gd name="T4" fmla="*/ 9 w 46"/>
                <a:gd name="T5" fmla="*/ 22 h 27"/>
                <a:gd name="T6" fmla="*/ 16 w 46"/>
                <a:gd name="T7" fmla="*/ 25 h 27"/>
                <a:gd name="T8" fmla="*/ 23 w 46"/>
                <a:gd name="T9" fmla="*/ 27 h 27"/>
                <a:gd name="T10" fmla="*/ 29 w 46"/>
                <a:gd name="T11" fmla="*/ 27 h 27"/>
                <a:gd name="T12" fmla="*/ 33 w 46"/>
                <a:gd name="T13" fmla="*/ 27 h 27"/>
                <a:gd name="T14" fmla="*/ 37 w 46"/>
                <a:gd name="T15" fmla="*/ 25 h 27"/>
                <a:gd name="T16" fmla="*/ 42 w 46"/>
                <a:gd name="T17" fmla="*/ 22 h 27"/>
                <a:gd name="T18" fmla="*/ 46 w 46"/>
                <a:gd name="T19" fmla="*/ 18 h 27"/>
                <a:gd name="T20" fmla="*/ 41 w 46"/>
                <a:gd name="T21" fmla="*/ 16 h 27"/>
                <a:gd name="T22" fmla="*/ 33 w 46"/>
                <a:gd name="T23" fmla="*/ 11 h 27"/>
                <a:gd name="T24" fmla="*/ 26 w 46"/>
                <a:gd name="T25" fmla="*/ 5 h 27"/>
                <a:gd name="T26" fmla="*/ 20 w 46"/>
                <a:gd name="T2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33" name="Freeform 200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2471738" y="5353050"/>
              <a:ext cx="25400" cy="60325"/>
            </a:xfrm>
            <a:custGeom>
              <a:avLst/>
              <a:gdLst>
                <a:gd name="T0" fmla="*/ 34 w 54"/>
                <a:gd name="T1" fmla="*/ 0 h 39"/>
                <a:gd name="T2" fmla="*/ 20 w 54"/>
                <a:gd name="T3" fmla="*/ 4 h 39"/>
                <a:gd name="T4" fmla="*/ 10 w 54"/>
                <a:gd name="T5" fmla="*/ 10 h 39"/>
                <a:gd name="T6" fmla="*/ 6 w 54"/>
                <a:gd name="T7" fmla="*/ 13 h 39"/>
                <a:gd name="T8" fmla="*/ 4 w 54"/>
                <a:gd name="T9" fmla="*/ 16 h 39"/>
                <a:gd name="T10" fmla="*/ 2 w 54"/>
                <a:gd name="T11" fmla="*/ 20 h 39"/>
                <a:gd name="T12" fmla="*/ 0 w 54"/>
                <a:gd name="T13" fmla="*/ 24 h 39"/>
                <a:gd name="T14" fmla="*/ 2 w 54"/>
                <a:gd name="T15" fmla="*/ 28 h 39"/>
                <a:gd name="T16" fmla="*/ 3 w 54"/>
                <a:gd name="T17" fmla="*/ 32 h 39"/>
                <a:gd name="T18" fmla="*/ 5 w 54"/>
                <a:gd name="T19" fmla="*/ 35 h 39"/>
                <a:gd name="T20" fmla="*/ 8 w 54"/>
                <a:gd name="T21" fmla="*/ 37 h 39"/>
                <a:gd name="T22" fmla="*/ 11 w 54"/>
                <a:gd name="T23" fmla="*/ 38 h 39"/>
                <a:gd name="T24" fmla="*/ 16 w 54"/>
                <a:gd name="T25" fmla="*/ 39 h 39"/>
                <a:gd name="T26" fmla="*/ 20 w 54"/>
                <a:gd name="T27" fmla="*/ 39 h 39"/>
                <a:gd name="T28" fmla="*/ 25 w 54"/>
                <a:gd name="T29" fmla="*/ 39 h 39"/>
                <a:gd name="T30" fmla="*/ 30 w 54"/>
                <a:gd name="T31" fmla="*/ 38 h 39"/>
                <a:gd name="T32" fmla="*/ 34 w 54"/>
                <a:gd name="T33" fmla="*/ 37 h 39"/>
                <a:gd name="T34" fmla="*/ 39 w 54"/>
                <a:gd name="T35" fmla="*/ 35 h 39"/>
                <a:gd name="T36" fmla="*/ 43 w 54"/>
                <a:gd name="T37" fmla="*/ 33 h 39"/>
                <a:gd name="T38" fmla="*/ 47 w 54"/>
                <a:gd name="T39" fmla="*/ 30 h 39"/>
                <a:gd name="T40" fmla="*/ 50 w 54"/>
                <a:gd name="T41" fmla="*/ 26 h 39"/>
                <a:gd name="T42" fmla="*/ 52 w 54"/>
                <a:gd name="T43" fmla="*/ 22 h 39"/>
                <a:gd name="T44" fmla="*/ 54 w 54"/>
                <a:gd name="T45" fmla="*/ 18 h 39"/>
                <a:gd name="T46" fmla="*/ 51 w 54"/>
                <a:gd name="T47" fmla="*/ 17 h 39"/>
                <a:gd name="T48" fmla="*/ 48 w 54"/>
                <a:gd name="T49" fmla="*/ 16 h 39"/>
                <a:gd name="T50" fmla="*/ 44 w 54"/>
                <a:gd name="T51" fmla="*/ 14 h 39"/>
                <a:gd name="T52" fmla="*/ 42 w 54"/>
                <a:gd name="T53" fmla="*/ 11 h 39"/>
                <a:gd name="T54" fmla="*/ 39 w 54"/>
                <a:gd name="T55" fmla="*/ 8 h 39"/>
                <a:gd name="T56" fmla="*/ 37 w 54"/>
                <a:gd name="T57" fmla="*/ 5 h 39"/>
                <a:gd name="T58" fmla="*/ 34 w 54"/>
                <a:gd name="T59" fmla="*/ 2 h 39"/>
                <a:gd name="T60" fmla="*/ 34 w 54"/>
                <a:gd name="T6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34" name="Freeform 201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2446338" y="5343525"/>
              <a:ext cx="28575" cy="58738"/>
            </a:xfrm>
            <a:custGeom>
              <a:avLst/>
              <a:gdLst>
                <a:gd name="T0" fmla="*/ 0 w 60"/>
                <a:gd name="T1" fmla="*/ 11 h 15"/>
                <a:gd name="T2" fmla="*/ 10 w 60"/>
                <a:gd name="T3" fmla="*/ 13 h 15"/>
                <a:gd name="T4" fmla="*/ 18 w 60"/>
                <a:gd name="T5" fmla="*/ 14 h 15"/>
                <a:gd name="T6" fmla="*/ 27 w 60"/>
                <a:gd name="T7" fmla="*/ 15 h 15"/>
                <a:gd name="T8" fmla="*/ 35 w 60"/>
                <a:gd name="T9" fmla="*/ 15 h 15"/>
                <a:gd name="T10" fmla="*/ 41 w 60"/>
                <a:gd name="T11" fmla="*/ 14 h 15"/>
                <a:gd name="T12" fmla="*/ 48 w 60"/>
                <a:gd name="T13" fmla="*/ 12 h 15"/>
                <a:gd name="T14" fmla="*/ 55 w 60"/>
                <a:gd name="T15" fmla="*/ 9 h 15"/>
                <a:gd name="T16" fmla="*/ 60 w 60"/>
                <a:gd name="T17" fmla="*/ 5 h 15"/>
                <a:gd name="T18" fmla="*/ 57 w 60"/>
                <a:gd name="T19" fmla="*/ 3 h 15"/>
                <a:gd name="T20" fmla="*/ 54 w 60"/>
                <a:gd name="T21" fmla="*/ 0 h 15"/>
                <a:gd name="T22" fmla="*/ 51 w 60"/>
                <a:gd name="T23" fmla="*/ 0 h 15"/>
                <a:gd name="T24" fmla="*/ 47 w 60"/>
                <a:gd name="T25" fmla="*/ 0 h 15"/>
                <a:gd name="T26" fmla="*/ 40 w 60"/>
                <a:gd name="T27" fmla="*/ 0 h 15"/>
                <a:gd name="T28" fmla="*/ 33 w 60"/>
                <a:gd name="T29" fmla="*/ 3 h 15"/>
                <a:gd name="T30" fmla="*/ 24 w 60"/>
                <a:gd name="T31" fmla="*/ 6 h 15"/>
                <a:gd name="T32" fmla="*/ 16 w 60"/>
                <a:gd name="T33" fmla="*/ 8 h 15"/>
                <a:gd name="T34" fmla="*/ 7 w 60"/>
                <a:gd name="T35" fmla="*/ 10 h 15"/>
                <a:gd name="T36" fmla="*/ 0 w 60"/>
                <a:gd name="T37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35" name="Freeform 202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2422525" y="5330825"/>
              <a:ext cx="33338" cy="57150"/>
            </a:xfrm>
            <a:custGeom>
              <a:avLst/>
              <a:gdLst>
                <a:gd name="T0" fmla="*/ 40 w 79"/>
                <a:gd name="T1" fmla="*/ 0 h 32"/>
                <a:gd name="T2" fmla="*/ 34 w 79"/>
                <a:gd name="T3" fmla="*/ 1 h 32"/>
                <a:gd name="T4" fmla="*/ 30 w 79"/>
                <a:gd name="T5" fmla="*/ 2 h 32"/>
                <a:gd name="T6" fmla="*/ 25 w 79"/>
                <a:gd name="T7" fmla="*/ 4 h 32"/>
                <a:gd name="T8" fmla="*/ 20 w 79"/>
                <a:gd name="T9" fmla="*/ 6 h 32"/>
                <a:gd name="T10" fmla="*/ 15 w 79"/>
                <a:gd name="T11" fmla="*/ 9 h 32"/>
                <a:gd name="T12" fmla="*/ 10 w 79"/>
                <a:gd name="T13" fmla="*/ 11 h 32"/>
                <a:gd name="T14" fmla="*/ 5 w 79"/>
                <a:gd name="T15" fmla="*/ 12 h 32"/>
                <a:gd name="T16" fmla="*/ 0 w 79"/>
                <a:gd name="T17" fmla="*/ 13 h 32"/>
                <a:gd name="T18" fmla="*/ 5 w 79"/>
                <a:gd name="T19" fmla="*/ 21 h 32"/>
                <a:gd name="T20" fmla="*/ 10 w 79"/>
                <a:gd name="T21" fmla="*/ 26 h 32"/>
                <a:gd name="T22" fmla="*/ 12 w 79"/>
                <a:gd name="T23" fmla="*/ 29 h 32"/>
                <a:gd name="T24" fmla="*/ 15 w 79"/>
                <a:gd name="T25" fmla="*/ 31 h 32"/>
                <a:gd name="T26" fmla="*/ 18 w 79"/>
                <a:gd name="T27" fmla="*/ 31 h 32"/>
                <a:gd name="T28" fmla="*/ 20 w 79"/>
                <a:gd name="T29" fmla="*/ 32 h 32"/>
                <a:gd name="T30" fmla="*/ 27 w 79"/>
                <a:gd name="T31" fmla="*/ 31 h 32"/>
                <a:gd name="T32" fmla="*/ 34 w 79"/>
                <a:gd name="T33" fmla="*/ 30 h 32"/>
                <a:gd name="T34" fmla="*/ 41 w 79"/>
                <a:gd name="T35" fmla="*/ 27 h 32"/>
                <a:gd name="T36" fmla="*/ 48 w 79"/>
                <a:gd name="T37" fmla="*/ 24 h 32"/>
                <a:gd name="T38" fmla="*/ 62 w 79"/>
                <a:gd name="T39" fmla="*/ 18 h 32"/>
                <a:gd name="T40" fmla="*/ 79 w 79"/>
                <a:gd name="T41" fmla="*/ 13 h 32"/>
                <a:gd name="T42" fmla="*/ 67 w 79"/>
                <a:gd name="T43" fmla="*/ 6 h 32"/>
                <a:gd name="T44" fmla="*/ 58 w 79"/>
                <a:gd name="T45" fmla="*/ 2 h 32"/>
                <a:gd name="T46" fmla="*/ 49 w 79"/>
                <a:gd name="T47" fmla="*/ 1 h 32"/>
                <a:gd name="T48" fmla="*/ 40 w 79"/>
                <a:gd name="T4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36" name="Freeform 203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2416175" y="5311775"/>
              <a:ext cx="30163" cy="57150"/>
            </a:xfrm>
            <a:custGeom>
              <a:avLst/>
              <a:gdLst>
                <a:gd name="T0" fmla="*/ 33 w 66"/>
                <a:gd name="T1" fmla="*/ 0 h 19"/>
                <a:gd name="T2" fmla="*/ 25 w 66"/>
                <a:gd name="T3" fmla="*/ 1 h 19"/>
                <a:gd name="T4" fmla="*/ 19 w 66"/>
                <a:gd name="T5" fmla="*/ 2 h 19"/>
                <a:gd name="T6" fmla="*/ 13 w 66"/>
                <a:gd name="T7" fmla="*/ 4 h 19"/>
                <a:gd name="T8" fmla="*/ 9 w 66"/>
                <a:gd name="T9" fmla="*/ 7 h 19"/>
                <a:gd name="T10" fmla="*/ 5 w 66"/>
                <a:gd name="T11" fmla="*/ 11 h 19"/>
                <a:gd name="T12" fmla="*/ 2 w 66"/>
                <a:gd name="T13" fmla="*/ 14 h 19"/>
                <a:gd name="T14" fmla="*/ 0 w 66"/>
                <a:gd name="T15" fmla="*/ 17 h 19"/>
                <a:gd name="T16" fmla="*/ 0 w 66"/>
                <a:gd name="T17" fmla="*/ 19 h 19"/>
                <a:gd name="T18" fmla="*/ 19 w 66"/>
                <a:gd name="T19" fmla="*/ 19 h 19"/>
                <a:gd name="T20" fmla="*/ 38 w 66"/>
                <a:gd name="T21" fmla="*/ 19 h 19"/>
                <a:gd name="T22" fmla="*/ 46 w 66"/>
                <a:gd name="T23" fmla="*/ 18 h 19"/>
                <a:gd name="T24" fmla="*/ 54 w 66"/>
                <a:gd name="T25" fmla="*/ 17 h 19"/>
                <a:gd name="T26" fmla="*/ 61 w 66"/>
                <a:gd name="T27" fmla="*/ 15 h 19"/>
                <a:gd name="T28" fmla="*/ 66 w 66"/>
                <a:gd name="T29" fmla="*/ 13 h 19"/>
                <a:gd name="T30" fmla="*/ 57 w 66"/>
                <a:gd name="T31" fmla="*/ 8 h 19"/>
                <a:gd name="T32" fmla="*/ 50 w 66"/>
                <a:gd name="T33" fmla="*/ 4 h 19"/>
                <a:gd name="T34" fmla="*/ 42 w 66"/>
                <a:gd name="T35" fmla="*/ 1 h 19"/>
                <a:gd name="T36" fmla="*/ 33 w 66"/>
                <a:gd name="T3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37" name="Freeform 204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2316163" y="5002213"/>
              <a:ext cx="25400" cy="60325"/>
            </a:xfrm>
            <a:custGeom>
              <a:avLst/>
              <a:gdLst>
                <a:gd name="T0" fmla="*/ 13 w 53"/>
                <a:gd name="T1" fmla="*/ 0 h 80"/>
                <a:gd name="T2" fmla="*/ 8 w 53"/>
                <a:gd name="T3" fmla="*/ 5 h 80"/>
                <a:gd name="T4" fmla="*/ 4 w 53"/>
                <a:gd name="T5" fmla="*/ 10 h 80"/>
                <a:gd name="T6" fmla="*/ 2 w 53"/>
                <a:gd name="T7" fmla="*/ 13 h 80"/>
                <a:gd name="T8" fmla="*/ 1 w 53"/>
                <a:gd name="T9" fmla="*/ 16 h 80"/>
                <a:gd name="T10" fmla="*/ 0 w 53"/>
                <a:gd name="T11" fmla="*/ 20 h 80"/>
                <a:gd name="T12" fmla="*/ 0 w 53"/>
                <a:gd name="T13" fmla="*/ 25 h 80"/>
                <a:gd name="T14" fmla="*/ 0 w 53"/>
                <a:gd name="T15" fmla="*/ 30 h 80"/>
                <a:gd name="T16" fmla="*/ 2 w 53"/>
                <a:gd name="T17" fmla="*/ 39 h 80"/>
                <a:gd name="T18" fmla="*/ 6 w 53"/>
                <a:gd name="T19" fmla="*/ 48 h 80"/>
                <a:gd name="T20" fmla="*/ 9 w 53"/>
                <a:gd name="T21" fmla="*/ 57 h 80"/>
                <a:gd name="T22" fmla="*/ 13 w 53"/>
                <a:gd name="T23" fmla="*/ 66 h 80"/>
                <a:gd name="T24" fmla="*/ 20 w 53"/>
                <a:gd name="T25" fmla="*/ 73 h 80"/>
                <a:gd name="T26" fmla="*/ 22 w 53"/>
                <a:gd name="T27" fmla="*/ 76 h 80"/>
                <a:gd name="T28" fmla="*/ 26 w 53"/>
                <a:gd name="T29" fmla="*/ 78 h 80"/>
                <a:gd name="T30" fmla="*/ 30 w 53"/>
                <a:gd name="T31" fmla="*/ 80 h 80"/>
                <a:gd name="T32" fmla="*/ 33 w 53"/>
                <a:gd name="T33" fmla="*/ 80 h 80"/>
                <a:gd name="T34" fmla="*/ 36 w 53"/>
                <a:gd name="T35" fmla="*/ 79 h 80"/>
                <a:gd name="T36" fmla="*/ 38 w 53"/>
                <a:gd name="T37" fmla="*/ 78 h 80"/>
                <a:gd name="T38" fmla="*/ 42 w 53"/>
                <a:gd name="T39" fmla="*/ 76 h 80"/>
                <a:gd name="T40" fmla="*/ 45 w 53"/>
                <a:gd name="T41" fmla="*/ 73 h 80"/>
                <a:gd name="T42" fmla="*/ 48 w 53"/>
                <a:gd name="T43" fmla="*/ 70 h 80"/>
                <a:gd name="T44" fmla="*/ 51 w 53"/>
                <a:gd name="T45" fmla="*/ 67 h 80"/>
                <a:gd name="T46" fmla="*/ 53 w 53"/>
                <a:gd name="T47" fmla="*/ 64 h 80"/>
                <a:gd name="T48" fmla="*/ 53 w 53"/>
                <a:gd name="T49" fmla="*/ 62 h 80"/>
                <a:gd name="T50" fmla="*/ 52 w 53"/>
                <a:gd name="T51" fmla="*/ 54 h 80"/>
                <a:gd name="T52" fmla="*/ 49 w 53"/>
                <a:gd name="T53" fmla="*/ 47 h 80"/>
                <a:gd name="T54" fmla="*/ 46 w 53"/>
                <a:gd name="T55" fmla="*/ 42 h 80"/>
                <a:gd name="T56" fmla="*/ 43 w 53"/>
                <a:gd name="T57" fmla="*/ 37 h 80"/>
                <a:gd name="T58" fmla="*/ 40 w 53"/>
                <a:gd name="T59" fmla="*/ 32 h 80"/>
                <a:gd name="T60" fmla="*/ 36 w 53"/>
                <a:gd name="T61" fmla="*/ 27 h 80"/>
                <a:gd name="T62" fmla="*/ 34 w 53"/>
                <a:gd name="T63" fmla="*/ 20 h 80"/>
                <a:gd name="T64" fmla="*/ 33 w 53"/>
                <a:gd name="T65" fmla="*/ 12 h 80"/>
                <a:gd name="T66" fmla="*/ 33 w 53"/>
                <a:gd name="T67" fmla="*/ 10 h 80"/>
                <a:gd name="T68" fmla="*/ 31 w 53"/>
                <a:gd name="T69" fmla="*/ 8 h 80"/>
                <a:gd name="T70" fmla="*/ 29 w 53"/>
                <a:gd name="T71" fmla="*/ 6 h 80"/>
                <a:gd name="T72" fmla="*/ 25 w 53"/>
                <a:gd name="T73" fmla="*/ 4 h 80"/>
                <a:gd name="T74" fmla="*/ 19 w 53"/>
                <a:gd name="T75" fmla="*/ 1 h 80"/>
                <a:gd name="T76" fmla="*/ 13 w 53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38" name="Freeform 205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2346325" y="5097463"/>
              <a:ext cx="17463" cy="53975"/>
            </a:xfrm>
            <a:custGeom>
              <a:avLst/>
              <a:gdLst>
                <a:gd name="T0" fmla="*/ 0 w 41"/>
                <a:gd name="T1" fmla="*/ 43 h 43"/>
                <a:gd name="T2" fmla="*/ 27 w 41"/>
                <a:gd name="T3" fmla="*/ 43 h 43"/>
                <a:gd name="T4" fmla="*/ 41 w 41"/>
                <a:gd name="T5" fmla="*/ 24 h 43"/>
                <a:gd name="T6" fmla="*/ 38 w 41"/>
                <a:gd name="T7" fmla="*/ 12 h 43"/>
                <a:gd name="T8" fmla="*/ 34 w 41"/>
                <a:gd name="T9" fmla="*/ 0 h 43"/>
                <a:gd name="T10" fmla="*/ 27 w 41"/>
                <a:gd name="T11" fmla="*/ 4 h 43"/>
                <a:gd name="T12" fmla="*/ 20 w 41"/>
                <a:gd name="T13" fmla="*/ 9 h 43"/>
                <a:gd name="T14" fmla="*/ 15 w 41"/>
                <a:gd name="T15" fmla="*/ 14 h 43"/>
                <a:gd name="T16" fmla="*/ 10 w 41"/>
                <a:gd name="T17" fmla="*/ 19 h 43"/>
                <a:gd name="T18" fmla="*/ 6 w 41"/>
                <a:gd name="T19" fmla="*/ 24 h 43"/>
                <a:gd name="T20" fmla="*/ 3 w 41"/>
                <a:gd name="T21" fmla="*/ 30 h 43"/>
                <a:gd name="T22" fmla="*/ 1 w 41"/>
                <a:gd name="T23" fmla="*/ 37 h 43"/>
                <a:gd name="T24" fmla="*/ 0 w 41"/>
                <a:gd name="T2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39" name="Freeform 206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2351088" y="5119688"/>
              <a:ext cx="7937" cy="58737"/>
            </a:xfrm>
            <a:custGeom>
              <a:avLst/>
              <a:gdLst>
                <a:gd name="T0" fmla="*/ 20 w 20"/>
                <a:gd name="T1" fmla="*/ 0 h 24"/>
                <a:gd name="T2" fmla="*/ 0 w 20"/>
                <a:gd name="T3" fmla="*/ 0 h 24"/>
                <a:gd name="T4" fmla="*/ 1 w 20"/>
                <a:gd name="T5" fmla="*/ 5 h 24"/>
                <a:gd name="T6" fmla="*/ 2 w 20"/>
                <a:gd name="T7" fmla="*/ 9 h 24"/>
                <a:gd name="T8" fmla="*/ 4 w 20"/>
                <a:gd name="T9" fmla="*/ 13 h 24"/>
                <a:gd name="T10" fmla="*/ 7 w 20"/>
                <a:gd name="T11" fmla="*/ 17 h 24"/>
                <a:gd name="T12" fmla="*/ 10 w 20"/>
                <a:gd name="T13" fmla="*/ 20 h 24"/>
                <a:gd name="T14" fmla="*/ 14 w 20"/>
                <a:gd name="T15" fmla="*/ 22 h 24"/>
                <a:gd name="T16" fmla="*/ 17 w 20"/>
                <a:gd name="T17" fmla="*/ 24 h 24"/>
                <a:gd name="T18" fmla="*/ 20 w 20"/>
                <a:gd name="T19" fmla="*/ 24 h 24"/>
                <a:gd name="T20" fmla="*/ 20 w 20"/>
                <a:gd name="T2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40" name="Freeform 207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2365375" y="5181600"/>
              <a:ext cx="17463" cy="60325"/>
            </a:xfrm>
            <a:custGeom>
              <a:avLst/>
              <a:gdLst>
                <a:gd name="T0" fmla="*/ 0 w 39"/>
                <a:gd name="T1" fmla="*/ 12 h 43"/>
                <a:gd name="T2" fmla="*/ 2 w 39"/>
                <a:gd name="T3" fmla="*/ 17 h 43"/>
                <a:gd name="T4" fmla="*/ 6 w 39"/>
                <a:gd name="T5" fmla="*/ 22 h 43"/>
                <a:gd name="T6" fmla="*/ 12 w 39"/>
                <a:gd name="T7" fmla="*/ 27 h 43"/>
                <a:gd name="T8" fmla="*/ 16 w 39"/>
                <a:gd name="T9" fmla="*/ 32 h 43"/>
                <a:gd name="T10" fmla="*/ 23 w 39"/>
                <a:gd name="T11" fmla="*/ 37 h 43"/>
                <a:gd name="T12" fmla="*/ 28 w 39"/>
                <a:gd name="T13" fmla="*/ 40 h 43"/>
                <a:gd name="T14" fmla="*/ 34 w 39"/>
                <a:gd name="T15" fmla="*/ 43 h 43"/>
                <a:gd name="T16" fmla="*/ 39 w 39"/>
                <a:gd name="T17" fmla="*/ 43 h 43"/>
                <a:gd name="T18" fmla="*/ 38 w 39"/>
                <a:gd name="T19" fmla="*/ 32 h 43"/>
                <a:gd name="T20" fmla="*/ 36 w 39"/>
                <a:gd name="T21" fmla="*/ 19 h 43"/>
                <a:gd name="T22" fmla="*/ 34 w 39"/>
                <a:gd name="T23" fmla="*/ 8 h 43"/>
                <a:gd name="T24" fmla="*/ 32 w 39"/>
                <a:gd name="T25" fmla="*/ 0 h 43"/>
                <a:gd name="T26" fmla="*/ 19 w 39"/>
                <a:gd name="T27" fmla="*/ 3 h 43"/>
                <a:gd name="T28" fmla="*/ 6 w 39"/>
                <a:gd name="T29" fmla="*/ 6 h 43"/>
                <a:gd name="T30" fmla="*/ 0 w 39"/>
                <a:gd name="T31" fmla="*/ 1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41" name="Freeform 208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2352675" y="5194300"/>
              <a:ext cx="26988" cy="58738"/>
            </a:xfrm>
            <a:custGeom>
              <a:avLst/>
              <a:gdLst>
                <a:gd name="T0" fmla="*/ 29 w 55"/>
                <a:gd name="T1" fmla="*/ 26 h 62"/>
                <a:gd name="T2" fmla="*/ 8 w 55"/>
                <a:gd name="T3" fmla="*/ 0 h 62"/>
                <a:gd name="T4" fmla="*/ 4 w 55"/>
                <a:gd name="T5" fmla="*/ 5 h 62"/>
                <a:gd name="T6" fmla="*/ 1 w 55"/>
                <a:gd name="T7" fmla="*/ 11 h 62"/>
                <a:gd name="T8" fmla="*/ 0 w 55"/>
                <a:gd name="T9" fmla="*/ 16 h 62"/>
                <a:gd name="T10" fmla="*/ 0 w 55"/>
                <a:gd name="T11" fmla="*/ 21 h 62"/>
                <a:gd name="T12" fmla="*/ 2 w 55"/>
                <a:gd name="T13" fmla="*/ 26 h 62"/>
                <a:gd name="T14" fmla="*/ 4 w 55"/>
                <a:gd name="T15" fmla="*/ 31 h 62"/>
                <a:gd name="T16" fmla="*/ 8 w 55"/>
                <a:gd name="T17" fmla="*/ 36 h 62"/>
                <a:gd name="T18" fmla="*/ 11 w 55"/>
                <a:gd name="T19" fmla="*/ 41 h 62"/>
                <a:gd name="T20" fmla="*/ 16 w 55"/>
                <a:gd name="T21" fmla="*/ 45 h 62"/>
                <a:gd name="T22" fmla="*/ 21 w 55"/>
                <a:gd name="T23" fmla="*/ 49 h 62"/>
                <a:gd name="T24" fmla="*/ 26 w 55"/>
                <a:gd name="T25" fmla="*/ 53 h 62"/>
                <a:gd name="T26" fmla="*/ 33 w 55"/>
                <a:gd name="T27" fmla="*/ 56 h 62"/>
                <a:gd name="T28" fmla="*/ 38 w 55"/>
                <a:gd name="T29" fmla="*/ 58 h 62"/>
                <a:gd name="T30" fmla="*/ 44 w 55"/>
                <a:gd name="T31" fmla="*/ 60 h 62"/>
                <a:gd name="T32" fmla="*/ 49 w 55"/>
                <a:gd name="T33" fmla="*/ 61 h 62"/>
                <a:gd name="T34" fmla="*/ 55 w 55"/>
                <a:gd name="T35" fmla="*/ 62 h 62"/>
                <a:gd name="T36" fmla="*/ 54 w 55"/>
                <a:gd name="T37" fmla="*/ 53 h 62"/>
                <a:gd name="T38" fmla="*/ 53 w 55"/>
                <a:gd name="T39" fmla="*/ 46 h 62"/>
                <a:gd name="T40" fmla="*/ 49 w 55"/>
                <a:gd name="T41" fmla="*/ 40 h 62"/>
                <a:gd name="T42" fmla="*/ 46 w 55"/>
                <a:gd name="T43" fmla="*/ 35 h 62"/>
                <a:gd name="T44" fmla="*/ 43 w 55"/>
                <a:gd name="T45" fmla="*/ 31 h 62"/>
                <a:gd name="T46" fmla="*/ 38 w 55"/>
                <a:gd name="T47" fmla="*/ 28 h 62"/>
                <a:gd name="T48" fmla="*/ 33 w 55"/>
                <a:gd name="T49" fmla="*/ 26 h 62"/>
                <a:gd name="T50" fmla="*/ 29 w 55"/>
                <a:gd name="T51" fmla="*/ 2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42" name="Freeform 209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2382838" y="5227638"/>
              <a:ext cx="11112" cy="58737"/>
            </a:xfrm>
            <a:custGeom>
              <a:avLst/>
              <a:gdLst>
                <a:gd name="T0" fmla="*/ 33 w 35"/>
                <a:gd name="T1" fmla="*/ 13 h 43"/>
                <a:gd name="T2" fmla="*/ 7 w 35"/>
                <a:gd name="T3" fmla="*/ 0 h 43"/>
                <a:gd name="T4" fmla="*/ 4 w 35"/>
                <a:gd name="T5" fmla="*/ 8 h 43"/>
                <a:gd name="T6" fmla="*/ 0 w 35"/>
                <a:gd name="T7" fmla="*/ 19 h 43"/>
                <a:gd name="T8" fmla="*/ 2 w 35"/>
                <a:gd name="T9" fmla="*/ 28 h 43"/>
                <a:gd name="T10" fmla="*/ 5 w 35"/>
                <a:gd name="T11" fmla="*/ 36 h 43"/>
                <a:gd name="T12" fmla="*/ 6 w 35"/>
                <a:gd name="T13" fmla="*/ 39 h 43"/>
                <a:gd name="T14" fmla="*/ 8 w 35"/>
                <a:gd name="T15" fmla="*/ 41 h 43"/>
                <a:gd name="T16" fmla="*/ 11 w 35"/>
                <a:gd name="T17" fmla="*/ 43 h 43"/>
                <a:gd name="T18" fmla="*/ 14 w 35"/>
                <a:gd name="T19" fmla="*/ 43 h 43"/>
                <a:gd name="T20" fmla="*/ 18 w 35"/>
                <a:gd name="T21" fmla="*/ 43 h 43"/>
                <a:gd name="T22" fmla="*/ 22 w 35"/>
                <a:gd name="T23" fmla="*/ 42 h 43"/>
                <a:gd name="T24" fmla="*/ 26 w 35"/>
                <a:gd name="T25" fmla="*/ 41 h 43"/>
                <a:gd name="T26" fmla="*/ 28 w 35"/>
                <a:gd name="T27" fmla="*/ 39 h 43"/>
                <a:gd name="T28" fmla="*/ 31 w 35"/>
                <a:gd name="T29" fmla="*/ 35 h 43"/>
                <a:gd name="T30" fmla="*/ 33 w 35"/>
                <a:gd name="T31" fmla="*/ 30 h 43"/>
                <a:gd name="T32" fmla="*/ 35 w 35"/>
                <a:gd name="T33" fmla="*/ 20 h 43"/>
                <a:gd name="T34" fmla="*/ 33 w 35"/>
                <a:gd name="T35" fmla="*/ 1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43" name="Freeform 210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2379663" y="5260975"/>
              <a:ext cx="20637" cy="55563"/>
            </a:xfrm>
            <a:custGeom>
              <a:avLst/>
              <a:gdLst>
                <a:gd name="T0" fmla="*/ 53 w 53"/>
                <a:gd name="T1" fmla="*/ 0 h 21"/>
                <a:gd name="T2" fmla="*/ 41 w 53"/>
                <a:gd name="T3" fmla="*/ 1 h 21"/>
                <a:gd name="T4" fmla="*/ 32 w 53"/>
                <a:gd name="T5" fmla="*/ 2 h 21"/>
                <a:gd name="T6" fmla="*/ 25 w 53"/>
                <a:gd name="T7" fmla="*/ 5 h 21"/>
                <a:gd name="T8" fmla="*/ 21 w 53"/>
                <a:gd name="T9" fmla="*/ 7 h 21"/>
                <a:gd name="T10" fmla="*/ 17 w 53"/>
                <a:gd name="T11" fmla="*/ 10 h 21"/>
                <a:gd name="T12" fmla="*/ 13 w 53"/>
                <a:gd name="T13" fmla="*/ 13 h 21"/>
                <a:gd name="T14" fmla="*/ 8 w 53"/>
                <a:gd name="T15" fmla="*/ 16 h 21"/>
                <a:gd name="T16" fmla="*/ 0 w 53"/>
                <a:gd name="T17" fmla="*/ 18 h 21"/>
                <a:gd name="T18" fmla="*/ 5 w 53"/>
                <a:gd name="T19" fmla="*/ 20 h 21"/>
                <a:gd name="T20" fmla="*/ 11 w 53"/>
                <a:gd name="T21" fmla="*/ 21 h 21"/>
                <a:gd name="T22" fmla="*/ 17 w 53"/>
                <a:gd name="T23" fmla="*/ 21 h 21"/>
                <a:gd name="T24" fmla="*/ 24 w 53"/>
                <a:gd name="T25" fmla="*/ 21 h 21"/>
                <a:gd name="T26" fmla="*/ 38 w 53"/>
                <a:gd name="T27" fmla="*/ 19 h 21"/>
                <a:gd name="T28" fmla="*/ 53 w 53"/>
                <a:gd name="T29" fmla="*/ 18 h 21"/>
                <a:gd name="T30" fmla="*/ 53 w 53"/>
                <a:gd name="T3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44" name="Freeform 211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2403475" y="5275263"/>
              <a:ext cx="17463" cy="57150"/>
            </a:xfrm>
            <a:custGeom>
              <a:avLst/>
              <a:gdLst>
                <a:gd name="T0" fmla="*/ 22 w 43"/>
                <a:gd name="T1" fmla="*/ 0 h 38"/>
                <a:gd name="T2" fmla="*/ 12 w 43"/>
                <a:gd name="T3" fmla="*/ 0 h 38"/>
                <a:gd name="T4" fmla="*/ 2 w 43"/>
                <a:gd name="T5" fmla="*/ 0 h 38"/>
                <a:gd name="T6" fmla="*/ 1 w 43"/>
                <a:gd name="T7" fmla="*/ 0 h 38"/>
                <a:gd name="T8" fmla="*/ 0 w 43"/>
                <a:gd name="T9" fmla="*/ 1 h 38"/>
                <a:gd name="T10" fmla="*/ 0 w 43"/>
                <a:gd name="T11" fmla="*/ 3 h 38"/>
                <a:gd name="T12" fmla="*/ 0 w 43"/>
                <a:gd name="T13" fmla="*/ 6 h 38"/>
                <a:gd name="T14" fmla="*/ 1 w 43"/>
                <a:gd name="T15" fmla="*/ 10 h 38"/>
                <a:gd name="T16" fmla="*/ 2 w 43"/>
                <a:gd name="T17" fmla="*/ 12 h 38"/>
                <a:gd name="T18" fmla="*/ 3 w 43"/>
                <a:gd name="T19" fmla="*/ 18 h 38"/>
                <a:gd name="T20" fmla="*/ 5 w 43"/>
                <a:gd name="T21" fmla="*/ 25 h 38"/>
                <a:gd name="T22" fmla="*/ 10 w 43"/>
                <a:gd name="T23" fmla="*/ 30 h 38"/>
                <a:gd name="T24" fmla="*/ 15 w 43"/>
                <a:gd name="T25" fmla="*/ 34 h 38"/>
                <a:gd name="T26" fmla="*/ 21 w 43"/>
                <a:gd name="T27" fmla="*/ 37 h 38"/>
                <a:gd name="T28" fmla="*/ 27 w 43"/>
                <a:gd name="T29" fmla="*/ 38 h 38"/>
                <a:gd name="T30" fmla="*/ 35 w 43"/>
                <a:gd name="T31" fmla="*/ 38 h 38"/>
                <a:gd name="T32" fmla="*/ 43 w 43"/>
                <a:gd name="T33" fmla="*/ 37 h 38"/>
                <a:gd name="T34" fmla="*/ 40 w 43"/>
                <a:gd name="T35" fmla="*/ 29 h 38"/>
                <a:gd name="T36" fmla="*/ 36 w 43"/>
                <a:gd name="T37" fmla="*/ 23 h 38"/>
                <a:gd name="T38" fmla="*/ 33 w 43"/>
                <a:gd name="T39" fmla="*/ 17 h 38"/>
                <a:gd name="T40" fmla="*/ 30 w 43"/>
                <a:gd name="T41" fmla="*/ 13 h 38"/>
                <a:gd name="T42" fmla="*/ 27 w 43"/>
                <a:gd name="T43" fmla="*/ 10 h 38"/>
                <a:gd name="T44" fmla="*/ 24 w 43"/>
                <a:gd name="T45" fmla="*/ 7 h 38"/>
                <a:gd name="T46" fmla="*/ 23 w 43"/>
                <a:gd name="T47" fmla="*/ 4 h 38"/>
                <a:gd name="T48" fmla="*/ 22 w 43"/>
                <a:gd name="T4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45" name="Freeform 212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2405063" y="5303838"/>
              <a:ext cx="6350" cy="57150"/>
            </a:xfrm>
            <a:custGeom>
              <a:avLst/>
              <a:gdLst>
                <a:gd name="T0" fmla="*/ 0 w 20"/>
                <a:gd name="T1" fmla="*/ 0 h 5"/>
                <a:gd name="T2" fmla="*/ 1 w 20"/>
                <a:gd name="T3" fmla="*/ 2 h 5"/>
                <a:gd name="T4" fmla="*/ 2 w 20"/>
                <a:gd name="T5" fmla="*/ 3 h 5"/>
                <a:gd name="T6" fmla="*/ 4 w 20"/>
                <a:gd name="T7" fmla="*/ 4 h 5"/>
                <a:gd name="T8" fmla="*/ 7 w 20"/>
                <a:gd name="T9" fmla="*/ 5 h 5"/>
                <a:gd name="T10" fmla="*/ 11 w 20"/>
                <a:gd name="T11" fmla="*/ 4 h 5"/>
                <a:gd name="T12" fmla="*/ 14 w 20"/>
                <a:gd name="T13" fmla="*/ 3 h 5"/>
                <a:gd name="T14" fmla="*/ 17 w 20"/>
                <a:gd name="T15" fmla="*/ 2 h 5"/>
                <a:gd name="T16" fmla="*/ 20 w 20"/>
                <a:gd name="T17" fmla="*/ 0 h 5"/>
                <a:gd name="T18" fmla="*/ 0 w 20"/>
                <a:gd name="T1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46" name="Freeform 213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2479675" y="5373688"/>
              <a:ext cx="34925" cy="57150"/>
            </a:xfrm>
            <a:custGeom>
              <a:avLst/>
              <a:gdLst>
                <a:gd name="T0" fmla="*/ 40 w 73"/>
                <a:gd name="T1" fmla="*/ 0 h 22"/>
                <a:gd name="T2" fmla="*/ 32 w 73"/>
                <a:gd name="T3" fmla="*/ 1 h 22"/>
                <a:gd name="T4" fmla="*/ 26 w 73"/>
                <a:gd name="T5" fmla="*/ 2 h 22"/>
                <a:gd name="T6" fmla="*/ 20 w 73"/>
                <a:gd name="T7" fmla="*/ 5 h 22"/>
                <a:gd name="T8" fmla="*/ 15 w 73"/>
                <a:gd name="T9" fmla="*/ 8 h 22"/>
                <a:gd name="T10" fmla="*/ 6 w 73"/>
                <a:gd name="T11" fmla="*/ 14 h 22"/>
                <a:gd name="T12" fmla="*/ 0 w 73"/>
                <a:gd name="T13" fmla="*/ 19 h 22"/>
                <a:gd name="T14" fmla="*/ 20 w 73"/>
                <a:gd name="T15" fmla="*/ 20 h 22"/>
                <a:gd name="T16" fmla="*/ 39 w 73"/>
                <a:gd name="T17" fmla="*/ 22 h 22"/>
                <a:gd name="T18" fmla="*/ 49 w 73"/>
                <a:gd name="T19" fmla="*/ 22 h 22"/>
                <a:gd name="T20" fmla="*/ 57 w 73"/>
                <a:gd name="T21" fmla="*/ 22 h 22"/>
                <a:gd name="T22" fmla="*/ 65 w 73"/>
                <a:gd name="T23" fmla="*/ 21 h 22"/>
                <a:gd name="T24" fmla="*/ 73 w 73"/>
                <a:gd name="T25" fmla="*/ 19 h 22"/>
                <a:gd name="T26" fmla="*/ 64 w 73"/>
                <a:gd name="T27" fmla="*/ 14 h 22"/>
                <a:gd name="T28" fmla="*/ 56 w 73"/>
                <a:gd name="T29" fmla="*/ 8 h 22"/>
                <a:gd name="T30" fmla="*/ 53 w 73"/>
                <a:gd name="T31" fmla="*/ 5 h 22"/>
                <a:gd name="T32" fmla="*/ 49 w 73"/>
                <a:gd name="T33" fmla="*/ 2 h 22"/>
                <a:gd name="T34" fmla="*/ 44 w 73"/>
                <a:gd name="T35" fmla="*/ 1 h 22"/>
                <a:gd name="T36" fmla="*/ 40 w 73"/>
                <a:gd name="T3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47" name="Freeform 214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2517775" y="5314950"/>
              <a:ext cx="123825" cy="100013"/>
            </a:xfrm>
            <a:custGeom>
              <a:avLst/>
              <a:gdLst>
                <a:gd name="T0" fmla="*/ 235 w 281"/>
                <a:gd name="T1" fmla="*/ 168 h 193"/>
                <a:gd name="T2" fmla="*/ 188 w 281"/>
                <a:gd name="T3" fmla="*/ 171 h 193"/>
                <a:gd name="T4" fmla="*/ 168 w 281"/>
                <a:gd name="T5" fmla="*/ 168 h 193"/>
                <a:gd name="T6" fmla="*/ 155 w 281"/>
                <a:gd name="T7" fmla="*/ 164 h 193"/>
                <a:gd name="T8" fmla="*/ 130 w 281"/>
                <a:gd name="T9" fmla="*/ 135 h 193"/>
                <a:gd name="T10" fmla="*/ 104 w 281"/>
                <a:gd name="T11" fmla="*/ 94 h 193"/>
                <a:gd name="T12" fmla="*/ 94 w 281"/>
                <a:gd name="T13" fmla="*/ 74 h 193"/>
                <a:gd name="T14" fmla="*/ 87 w 281"/>
                <a:gd name="T15" fmla="*/ 51 h 193"/>
                <a:gd name="T16" fmla="*/ 83 w 281"/>
                <a:gd name="T17" fmla="*/ 27 h 193"/>
                <a:gd name="T18" fmla="*/ 43 w 281"/>
                <a:gd name="T19" fmla="*/ 0 h 193"/>
                <a:gd name="T20" fmla="*/ 28 w 281"/>
                <a:gd name="T21" fmla="*/ 52 h 193"/>
                <a:gd name="T22" fmla="*/ 18 w 281"/>
                <a:gd name="T23" fmla="*/ 61 h 193"/>
                <a:gd name="T24" fmla="*/ 6 w 281"/>
                <a:gd name="T25" fmla="*/ 69 h 193"/>
                <a:gd name="T26" fmla="*/ 0 w 281"/>
                <a:gd name="T27" fmla="*/ 73 h 193"/>
                <a:gd name="T28" fmla="*/ 1 w 281"/>
                <a:gd name="T29" fmla="*/ 75 h 193"/>
                <a:gd name="T30" fmla="*/ 9 w 281"/>
                <a:gd name="T31" fmla="*/ 81 h 193"/>
                <a:gd name="T32" fmla="*/ 37 w 281"/>
                <a:gd name="T33" fmla="*/ 111 h 193"/>
                <a:gd name="T34" fmla="*/ 45 w 281"/>
                <a:gd name="T35" fmla="*/ 122 h 193"/>
                <a:gd name="T36" fmla="*/ 53 w 281"/>
                <a:gd name="T37" fmla="*/ 129 h 193"/>
                <a:gd name="T38" fmla="*/ 62 w 281"/>
                <a:gd name="T39" fmla="*/ 134 h 193"/>
                <a:gd name="T40" fmla="*/ 71 w 281"/>
                <a:gd name="T41" fmla="*/ 136 h 193"/>
                <a:gd name="T42" fmla="*/ 76 w 281"/>
                <a:gd name="T43" fmla="*/ 141 h 193"/>
                <a:gd name="T44" fmla="*/ 79 w 281"/>
                <a:gd name="T45" fmla="*/ 148 h 193"/>
                <a:gd name="T46" fmla="*/ 86 w 281"/>
                <a:gd name="T47" fmla="*/ 153 h 193"/>
                <a:gd name="T48" fmla="*/ 99 w 281"/>
                <a:gd name="T49" fmla="*/ 154 h 193"/>
                <a:gd name="T50" fmla="*/ 106 w 281"/>
                <a:gd name="T51" fmla="*/ 157 h 193"/>
                <a:gd name="T52" fmla="*/ 109 w 281"/>
                <a:gd name="T53" fmla="*/ 163 h 193"/>
                <a:gd name="T54" fmla="*/ 109 w 281"/>
                <a:gd name="T55" fmla="*/ 179 h 193"/>
                <a:gd name="T56" fmla="*/ 111 w 281"/>
                <a:gd name="T57" fmla="*/ 189 h 193"/>
                <a:gd name="T58" fmla="*/ 115 w 281"/>
                <a:gd name="T59" fmla="*/ 193 h 193"/>
                <a:gd name="T60" fmla="*/ 129 w 281"/>
                <a:gd name="T61" fmla="*/ 193 h 193"/>
                <a:gd name="T62" fmla="*/ 164 w 281"/>
                <a:gd name="T63" fmla="*/ 191 h 193"/>
                <a:gd name="T64" fmla="*/ 180 w 281"/>
                <a:gd name="T65" fmla="*/ 189 h 193"/>
                <a:gd name="T66" fmla="*/ 192 w 281"/>
                <a:gd name="T67" fmla="*/ 186 h 193"/>
                <a:gd name="T68" fmla="*/ 212 w 281"/>
                <a:gd name="T69" fmla="*/ 188 h 193"/>
                <a:gd name="T70" fmla="*/ 281 w 281"/>
                <a:gd name="T71" fmla="*/ 167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48" name="Freeform 215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2070100" y="3081338"/>
              <a:ext cx="52388" cy="58737"/>
            </a:xfrm>
            <a:custGeom>
              <a:avLst/>
              <a:gdLst>
                <a:gd name="T0" fmla="*/ 0 w 120"/>
                <a:gd name="T1" fmla="*/ 18 h 56"/>
                <a:gd name="T2" fmla="*/ 4 w 120"/>
                <a:gd name="T3" fmla="*/ 26 h 56"/>
                <a:gd name="T4" fmla="*/ 10 w 120"/>
                <a:gd name="T5" fmla="*/ 33 h 56"/>
                <a:gd name="T6" fmla="*/ 15 w 120"/>
                <a:gd name="T7" fmla="*/ 37 h 56"/>
                <a:gd name="T8" fmla="*/ 21 w 120"/>
                <a:gd name="T9" fmla="*/ 41 h 56"/>
                <a:gd name="T10" fmla="*/ 27 w 120"/>
                <a:gd name="T11" fmla="*/ 44 h 56"/>
                <a:gd name="T12" fmla="*/ 35 w 120"/>
                <a:gd name="T13" fmla="*/ 46 h 56"/>
                <a:gd name="T14" fmla="*/ 43 w 120"/>
                <a:gd name="T15" fmla="*/ 48 h 56"/>
                <a:gd name="T16" fmla="*/ 51 w 120"/>
                <a:gd name="T17" fmla="*/ 49 h 56"/>
                <a:gd name="T18" fmla="*/ 67 w 120"/>
                <a:gd name="T19" fmla="*/ 50 h 56"/>
                <a:gd name="T20" fmla="*/ 85 w 120"/>
                <a:gd name="T21" fmla="*/ 51 h 56"/>
                <a:gd name="T22" fmla="*/ 102 w 120"/>
                <a:gd name="T23" fmla="*/ 52 h 56"/>
                <a:gd name="T24" fmla="*/ 120 w 120"/>
                <a:gd name="T25" fmla="*/ 56 h 56"/>
                <a:gd name="T26" fmla="*/ 120 w 120"/>
                <a:gd name="T27" fmla="*/ 37 h 56"/>
                <a:gd name="T28" fmla="*/ 111 w 120"/>
                <a:gd name="T29" fmla="*/ 34 h 56"/>
                <a:gd name="T30" fmla="*/ 102 w 120"/>
                <a:gd name="T31" fmla="*/ 30 h 56"/>
                <a:gd name="T32" fmla="*/ 94 w 120"/>
                <a:gd name="T33" fmla="*/ 24 h 56"/>
                <a:gd name="T34" fmla="*/ 88 w 120"/>
                <a:gd name="T35" fmla="*/ 18 h 56"/>
                <a:gd name="T36" fmla="*/ 81 w 120"/>
                <a:gd name="T37" fmla="*/ 13 h 56"/>
                <a:gd name="T38" fmla="*/ 75 w 120"/>
                <a:gd name="T39" fmla="*/ 7 h 56"/>
                <a:gd name="T40" fmla="*/ 67 w 120"/>
                <a:gd name="T41" fmla="*/ 3 h 56"/>
                <a:gd name="T42" fmla="*/ 60 w 120"/>
                <a:gd name="T43" fmla="*/ 0 h 56"/>
                <a:gd name="T44" fmla="*/ 55 w 120"/>
                <a:gd name="T45" fmla="*/ 1 h 56"/>
                <a:gd name="T46" fmla="*/ 48 w 120"/>
                <a:gd name="T47" fmla="*/ 3 h 56"/>
                <a:gd name="T48" fmla="*/ 41 w 120"/>
                <a:gd name="T49" fmla="*/ 6 h 56"/>
                <a:gd name="T50" fmla="*/ 33 w 120"/>
                <a:gd name="T51" fmla="*/ 9 h 56"/>
                <a:gd name="T52" fmla="*/ 24 w 120"/>
                <a:gd name="T53" fmla="*/ 13 h 56"/>
                <a:gd name="T54" fmla="*/ 16 w 120"/>
                <a:gd name="T55" fmla="*/ 15 h 56"/>
                <a:gd name="T56" fmla="*/ 8 w 120"/>
                <a:gd name="T57" fmla="*/ 18 h 56"/>
                <a:gd name="T58" fmla="*/ 0 w 120"/>
                <a:gd name="T59" fmla="*/ 1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49" name="Freeform 216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1927225" y="2943225"/>
              <a:ext cx="250825" cy="109538"/>
            </a:xfrm>
            <a:custGeom>
              <a:avLst/>
              <a:gdLst>
                <a:gd name="T0" fmla="*/ 127 w 574"/>
                <a:gd name="T1" fmla="*/ 1 h 204"/>
                <a:gd name="T2" fmla="*/ 95 w 574"/>
                <a:gd name="T3" fmla="*/ 6 h 204"/>
                <a:gd name="T4" fmla="*/ 66 w 574"/>
                <a:gd name="T5" fmla="*/ 16 h 204"/>
                <a:gd name="T6" fmla="*/ 43 w 574"/>
                <a:gd name="T7" fmla="*/ 26 h 204"/>
                <a:gd name="T8" fmla="*/ 30 w 574"/>
                <a:gd name="T9" fmla="*/ 35 h 204"/>
                <a:gd name="T10" fmla="*/ 16 w 574"/>
                <a:gd name="T11" fmla="*/ 51 h 204"/>
                <a:gd name="T12" fmla="*/ 4 w 574"/>
                <a:gd name="T13" fmla="*/ 71 h 204"/>
                <a:gd name="T14" fmla="*/ 0 w 574"/>
                <a:gd name="T15" fmla="*/ 82 h 204"/>
                <a:gd name="T16" fmla="*/ 1 w 574"/>
                <a:gd name="T17" fmla="*/ 86 h 204"/>
                <a:gd name="T18" fmla="*/ 13 w 574"/>
                <a:gd name="T19" fmla="*/ 86 h 204"/>
                <a:gd name="T20" fmla="*/ 29 w 574"/>
                <a:gd name="T21" fmla="*/ 83 h 204"/>
                <a:gd name="T22" fmla="*/ 52 w 574"/>
                <a:gd name="T23" fmla="*/ 75 h 204"/>
                <a:gd name="T24" fmla="*/ 80 w 574"/>
                <a:gd name="T25" fmla="*/ 58 h 204"/>
                <a:gd name="T26" fmla="*/ 102 w 574"/>
                <a:gd name="T27" fmla="*/ 46 h 204"/>
                <a:gd name="T28" fmla="*/ 119 w 574"/>
                <a:gd name="T29" fmla="*/ 40 h 204"/>
                <a:gd name="T30" fmla="*/ 175 w 574"/>
                <a:gd name="T31" fmla="*/ 37 h 204"/>
                <a:gd name="T32" fmla="*/ 176 w 574"/>
                <a:gd name="T33" fmla="*/ 48 h 204"/>
                <a:gd name="T34" fmla="*/ 180 w 574"/>
                <a:gd name="T35" fmla="*/ 55 h 204"/>
                <a:gd name="T36" fmla="*/ 184 w 574"/>
                <a:gd name="T37" fmla="*/ 59 h 204"/>
                <a:gd name="T38" fmla="*/ 190 w 574"/>
                <a:gd name="T39" fmla="*/ 61 h 204"/>
                <a:gd name="T40" fmla="*/ 229 w 574"/>
                <a:gd name="T41" fmla="*/ 61 h 204"/>
                <a:gd name="T42" fmla="*/ 269 w 574"/>
                <a:gd name="T43" fmla="*/ 78 h 204"/>
                <a:gd name="T44" fmla="*/ 302 w 574"/>
                <a:gd name="T45" fmla="*/ 95 h 204"/>
                <a:gd name="T46" fmla="*/ 336 w 574"/>
                <a:gd name="T47" fmla="*/ 111 h 204"/>
                <a:gd name="T48" fmla="*/ 375 w 574"/>
                <a:gd name="T49" fmla="*/ 123 h 204"/>
                <a:gd name="T50" fmla="*/ 376 w 574"/>
                <a:gd name="T51" fmla="*/ 134 h 204"/>
                <a:gd name="T52" fmla="*/ 382 w 574"/>
                <a:gd name="T53" fmla="*/ 142 h 204"/>
                <a:gd name="T54" fmla="*/ 396 w 574"/>
                <a:gd name="T55" fmla="*/ 152 h 204"/>
                <a:gd name="T56" fmla="*/ 428 w 574"/>
                <a:gd name="T57" fmla="*/ 166 h 204"/>
                <a:gd name="T58" fmla="*/ 402 w 574"/>
                <a:gd name="T59" fmla="*/ 191 h 204"/>
                <a:gd name="T60" fmla="*/ 407 w 574"/>
                <a:gd name="T61" fmla="*/ 197 h 204"/>
                <a:gd name="T62" fmla="*/ 414 w 574"/>
                <a:gd name="T63" fmla="*/ 201 h 204"/>
                <a:gd name="T64" fmla="*/ 429 w 574"/>
                <a:gd name="T65" fmla="*/ 204 h 204"/>
                <a:gd name="T66" fmla="*/ 461 w 574"/>
                <a:gd name="T67" fmla="*/ 204 h 204"/>
                <a:gd name="T68" fmla="*/ 555 w 574"/>
                <a:gd name="T69" fmla="*/ 189 h 204"/>
                <a:gd name="T70" fmla="*/ 559 w 574"/>
                <a:gd name="T71" fmla="*/ 183 h 204"/>
                <a:gd name="T72" fmla="*/ 565 w 574"/>
                <a:gd name="T73" fmla="*/ 177 h 204"/>
                <a:gd name="T74" fmla="*/ 572 w 574"/>
                <a:gd name="T75" fmla="*/ 173 h 204"/>
                <a:gd name="T76" fmla="*/ 574 w 574"/>
                <a:gd name="T77" fmla="*/ 161 h 204"/>
                <a:gd name="T78" fmla="*/ 561 w 574"/>
                <a:gd name="T79" fmla="*/ 153 h 204"/>
                <a:gd name="T80" fmla="*/ 532 w 574"/>
                <a:gd name="T81" fmla="*/ 148 h 204"/>
                <a:gd name="T82" fmla="*/ 504 w 574"/>
                <a:gd name="T83" fmla="*/ 138 h 204"/>
                <a:gd name="T84" fmla="*/ 475 w 574"/>
                <a:gd name="T85" fmla="*/ 124 h 204"/>
                <a:gd name="T86" fmla="*/ 433 w 574"/>
                <a:gd name="T87" fmla="*/ 100 h 204"/>
                <a:gd name="T88" fmla="*/ 383 w 574"/>
                <a:gd name="T89" fmla="*/ 68 h 204"/>
                <a:gd name="T90" fmla="*/ 358 w 574"/>
                <a:gd name="T91" fmla="*/ 54 h 204"/>
                <a:gd name="T92" fmla="*/ 348 w 574"/>
                <a:gd name="T93" fmla="*/ 52 h 204"/>
                <a:gd name="T94" fmla="*/ 330 w 574"/>
                <a:gd name="T95" fmla="*/ 52 h 204"/>
                <a:gd name="T96" fmla="*/ 312 w 574"/>
                <a:gd name="T97" fmla="*/ 51 h 204"/>
                <a:gd name="T98" fmla="*/ 302 w 574"/>
                <a:gd name="T99" fmla="*/ 49 h 204"/>
                <a:gd name="T100" fmla="*/ 294 w 574"/>
                <a:gd name="T101" fmla="*/ 43 h 204"/>
                <a:gd name="T102" fmla="*/ 290 w 574"/>
                <a:gd name="T103" fmla="*/ 32 h 204"/>
                <a:gd name="T104" fmla="*/ 142 w 574"/>
                <a:gd name="T105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50" name="Freeform 217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2232025" y="3046413"/>
              <a:ext cx="88900" cy="69850"/>
            </a:xfrm>
            <a:custGeom>
              <a:avLst/>
              <a:gdLst>
                <a:gd name="T0" fmla="*/ 41 w 207"/>
                <a:gd name="T1" fmla="*/ 129 h 129"/>
                <a:gd name="T2" fmla="*/ 50 w 207"/>
                <a:gd name="T3" fmla="*/ 121 h 129"/>
                <a:gd name="T4" fmla="*/ 60 w 207"/>
                <a:gd name="T5" fmla="*/ 115 h 129"/>
                <a:gd name="T6" fmla="*/ 70 w 207"/>
                <a:gd name="T7" fmla="*/ 110 h 129"/>
                <a:gd name="T8" fmla="*/ 81 w 207"/>
                <a:gd name="T9" fmla="*/ 105 h 129"/>
                <a:gd name="T10" fmla="*/ 105 w 207"/>
                <a:gd name="T11" fmla="*/ 99 h 129"/>
                <a:gd name="T12" fmla="*/ 129 w 207"/>
                <a:gd name="T13" fmla="*/ 92 h 129"/>
                <a:gd name="T14" fmla="*/ 152 w 207"/>
                <a:gd name="T15" fmla="*/ 87 h 129"/>
                <a:gd name="T16" fmla="*/ 173 w 207"/>
                <a:gd name="T17" fmla="*/ 81 h 129"/>
                <a:gd name="T18" fmla="*/ 182 w 207"/>
                <a:gd name="T19" fmla="*/ 77 h 129"/>
                <a:gd name="T20" fmla="*/ 191 w 207"/>
                <a:gd name="T21" fmla="*/ 73 h 129"/>
                <a:gd name="T22" fmla="*/ 200 w 207"/>
                <a:gd name="T23" fmla="*/ 67 h 129"/>
                <a:gd name="T24" fmla="*/ 207 w 207"/>
                <a:gd name="T25" fmla="*/ 61 h 129"/>
                <a:gd name="T26" fmla="*/ 198 w 207"/>
                <a:gd name="T27" fmla="*/ 54 h 129"/>
                <a:gd name="T28" fmla="*/ 188 w 207"/>
                <a:gd name="T29" fmla="*/ 47 h 129"/>
                <a:gd name="T30" fmla="*/ 179 w 207"/>
                <a:gd name="T31" fmla="*/ 42 h 129"/>
                <a:gd name="T32" fmla="*/ 169 w 207"/>
                <a:gd name="T33" fmla="*/ 36 h 129"/>
                <a:gd name="T34" fmla="*/ 150 w 207"/>
                <a:gd name="T35" fmla="*/ 29 h 129"/>
                <a:gd name="T36" fmla="*/ 129 w 207"/>
                <a:gd name="T37" fmla="*/ 23 h 129"/>
                <a:gd name="T38" fmla="*/ 107 w 207"/>
                <a:gd name="T39" fmla="*/ 18 h 129"/>
                <a:gd name="T40" fmla="*/ 85 w 207"/>
                <a:gd name="T41" fmla="*/ 13 h 129"/>
                <a:gd name="T42" fmla="*/ 63 w 207"/>
                <a:gd name="T43" fmla="*/ 7 h 129"/>
                <a:gd name="T44" fmla="*/ 41 w 207"/>
                <a:gd name="T45" fmla="*/ 0 h 129"/>
                <a:gd name="T46" fmla="*/ 0 w 207"/>
                <a:gd name="T47" fmla="*/ 0 h 129"/>
                <a:gd name="T48" fmla="*/ 1 w 207"/>
                <a:gd name="T49" fmla="*/ 6 h 129"/>
                <a:gd name="T50" fmla="*/ 2 w 207"/>
                <a:gd name="T51" fmla="*/ 13 h 129"/>
                <a:gd name="T52" fmla="*/ 4 w 207"/>
                <a:gd name="T53" fmla="*/ 19 h 129"/>
                <a:gd name="T54" fmla="*/ 6 w 207"/>
                <a:gd name="T55" fmla="*/ 25 h 129"/>
                <a:gd name="T56" fmla="*/ 10 w 207"/>
                <a:gd name="T57" fmla="*/ 35 h 129"/>
                <a:gd name="T58" fmla="*/ 13 w 207"/>
                <a:gd name="T59" fmla="*/ 46 h 129"/>
                <a:gd name="T60" fmla="*/ 17 w 207"/>
                <a:gd name="T61" fmla="*/ 54 h 129"/>
                <a:gd name="T62" fmla="*/ 18 w 207"/>
                <a:gd name="T63" fmla="*/ 62 h 129"/>
                <a:gd name="T64" fmla="*/ 17 w 207"/>
                <a:gd name="T65" fmla="*/ 65 h 129"/>
                <a:gd name="T66" fmla="*/ 14 w 207"/>
                <a:gd name="T67" fmla="*/ 68 h 129"/>
                <a:gd name="T68" fmla="*/ 11 w 207"/>
                <a:gd name="T69" fmla="*/ 71 h 129"/>
                <a:gd name="T70" fmla="*/ 7 w 207"/>
                <a:gd name="T71" fmla="*/ 73 h 129"/>
                <a:gd name="T72" fmla="*/ 0 w 207"/>
                <a:gd name="T73" fmla="*/ 104 h 129"/>
                <a:gd name="T74" fmla="*/ 4 w 207"/>
                <a:gd name="T75" fmla="*/ 106 h 129"/>
                <a:gd name="T76" fmla="*/ 13 w 207"/>
                <a:gd name="T77" fmla="*/ 110 h 129"/>
                <a:gd name="T78" fmla="*/ 19 w 207"/>
                <a:gd name="T79" fmla="*/ 113 h 129"/>
                <a:gd name="T80" fmla="*/ 25 w 207"/>
                <a:gd name="T81" fmla="*/ 117 h 129"/>
                <a:gd name="T82" fmla="*/ 33 w 207"/>
                <a:gd name="T83" fmla="*/ 122 h 129"/>
                <a:gd name="T84" fmla="*/ 41 w 207"/>
                <a:gd name="T85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51" name="Freeform 218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1800225" y="3106738"/>
              <a:ext cx="33338" cy="84137"/>
            </a:xfrm>
            <a:custGeom>
              <a:avLst/>
              <a:gdLst>
                <a:gd name="T0" fmla="*/ 72 w 72"/>
                <a:gd name="T1" fmla="*/ 0 h 154"/>
                <a:gd name="T2" fmla="*/ 69 w 72"/>
                <a:gd name="T3" fmla="*/ 4 h 154"/>
                <a:gd name="T4" fmla="*/ 67 w 72"/>
                <a:gd name="T5" fmla="*/ 9 h 154"/>
                <a:gd name="T6" fmla="*/ 66 w 72"/>
                <a:gd name="T7" fmla="*/ 13 h 154"/>
                <a:gd name="T8" fmla="*/ 66 w 72"/>
                <a:gd name="T9" fmla="*/ 18 h 154"/>
                <a:gd name="T10" fmla="*/ 66 w 72"/>
                <a:gd name="T11" fmla="*/ 27 h 154"/>
                <a:gd name="T12" fmla="*/ 66 w 72"/>
                <a:gd name="T13" fmla="*/ 37 h 154"/>
                <a:gd name="T14" fmla="*/ 69 w 72"/>
                <a:gd name="T15" fmla="*/ 43 h 154"/>
                <a:gd name="T16" fmla="*/ 71 w 72"/>
                <a:gd name="T17" fmla="*/ 50 h 154"/>
                <a:gd name="T18" fmla="*/ 71 w 72"/>
                <a:gd name="T19" fmla="*/ 57 h 154"/>
                <a:gd name="T20" fmla="*/ 71 w 72"/>
                <a:gd name="T21" fmla="*/ 65 h 154"/>
                <a:gd name="T22" fmla="*/ 69 w 72"/>
                <a:gd name="T23" fmla="*/ 73 h 154"/>
                <a:gd name="T24" fmla="*/ 67 w 72"/>
                <a:gd name="T25" fmla="*/ 82 h 154"/>
                <a:gd name="T26" fmla="*/ 65 w 72"/>
                <a:gd name="T27" fmla="*/ 91 h 154"/>
                <a:gd name="T28" fmla="*/ 61 w 72"/>
                <a:gd name="T29" fmla="*/ 100 h 154"/>
                <a:gd name="T30" fmla="*/ 53 w 72"/>
                <a:gd name="T31" fmla="*/ 116 h 154"/>
                <a:gd name="T32" fmla="*/ 44 w 72"/>
                <a:gd name="T33" fmla="*/ 131 h 154"/>
                <a:gd name="T34" fmla="*/ 34 w 72"/>
                <a:gd name="T35" fmla="*/ 144 h 154"/>
                <a:gd name="T36" fmla="*/ 26 w 72"/>
                <a:gd name="T37" fmla="*/ 154 h 154"/>
                <a:gd name="T38" fmla="*/ 26 w 72"/>
                <a:gd name="T39" fmla="*/ 141 h 154"/>
                <a:gd name="T40" fmla="*/ 15 w 72"/>
                <a:gd name="T41" fmla="*/ 144 h 154"/>
                <a:gd name="T42" fmla="*/ 0 w 72"/>
                <a:gd name="T43" fmla="*/ 148 h 154"/>
                <a:gd name="T44" fmla="*/ 3 w 72"/>
                <a:gd name="T45" fmla="*/ 129 h 154"/>
                <a:gd name="T46" fmla="*/ 8 w 72"/>
                <a:gd name="T47" fmla="*/ 105 h 154"/>
                <a:gd name="T48" fmla="*/ 9 w 72"/>
                <a:gd name="T49" fmla="*/ 92 h 154"/>
                <a:gd name="T50" fmla="*/ 12 w 72"/>
                <a:gd name="T51" fmla="*/ 77 h 154"/>
                <a:gd name="T52" fmla="*/ 15 w 72"/>
                <a:gd name="T53" fmla="*/ 63 h 154"/>
                <a:gd name="T54" fmla="*/ 20 w 72"/>
                <a:gd name="T55" fmla="*/ 49 h 154"/>
                <a:gd name="T56" fmla="*/ 20 w 72"/>
                <a:gd name="T57" fmla="*/ 0 h 154"/>
                <a:gd name="T58" fmla="*/ 25 w 72"/>
                <a:gd name="T59" fmla="*/ 0 h 154"/>
                <a:gd name="T60" fmla="*/ 38 w 72"/>
                <a:gd name="T61" fmla="*/ 0 h 154"/>
                <a:gd name="T62" fmla="*/ 56 w 72"/>
                <a:gd name="T63" fmla="*/ 0 h 154"/>
                <a:gd name="T64" fmla="*/ 72 w 72"/>
                <a:gd name="T65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52" name="Freeform 219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1720850" y="3106738"/>
              <a:ext cx="93663" cy="146050"/>
            </a:xfrm>
            <a:custGeom>
              <a:avLst/>
              <a:gdLst>
                <a:gd name="T0" fmla="*/ 8 w 214"/>
                <a:gd name="T1" fmla="*/ 207 h 271"/>
                <a:gd name="T2" fmla="*/ 12 w 214"/>
                <a:gd name="T3" fmla="*/ 181 h 271"/>
                <a:gd name="T4" fmla="*/ 24 w 214"/>
                <a:gd name="T5" fmla="*/ 148 h 271"/>
                <a:gd name="T6" fmla="*/ 35 w 214"/>
                <a:gd name="T7" fmla="*/ 118 h 271"/>
                <a:gd name="T8" fmla="*/ 44 w 214"/>
                <a:gd name="T9" fmla="*/ 112 h 271"/>
                <a:gd name="T10" fmla="*/ 65 w 214"/>
                <a:gd name="T11" fmla="*/ 111 h 271"/>
                <a:gd name="T12" fmla="*/ 89 w 214"/>
                <a:gd name="T13" fmla="*/ 111 h 271"/>
                <a:gd name="T14" fmla="*/ 106 w 214"/>
                <a:gd name="T15" fmla="*/ 110 h 271"/>
                <a:gd name="T16" fmla="*/ 120 w 214"/>
                <a:gd name="T17" fmla="*/ 105 h 271"/>
                <a:gd name="T18" fmla="*/ 130 w 214"/>
                <a:gd name="T19" fmla="*/ 94 h 271"/>
                <a:gd name="T20" fmla="*/ 113 w 214"/>
                <a:gd name="T21" fmla="*/ 73 h 271"/>
                <a:gd name="T22" fmla="*/ 86 w 214"/>
                <a:gd name="T23" fmla="*/ 58 h 271"/>
                <a:gd name="T24" fmla="*/ 77 w 214"/>
                <a:gd name="T25" fmla="*/ 49 h 271"/>
                <a:gd name="T26" fmla="*/ 74 w 214"/>
                <a:gd name="T27" fmla="*/ 41 h 271"/>
                <a:gd name="T28" fmla="*/ 75 w 214"/>
                <a:gd name="T29" fmla="*/ 34 h 271"/>
                <a:gd name="T30" fmla="*/ 82 w 214"/>
                <a:gd name="T31" fmla="*/ 28 h 271"/>
                <a:gd name="T32" fmla="*/ 101 w 214"/>
                <a:gd name="T33" fmla="*/ 19 h 271"/>
                <a:gd name="T34" fmla="*/ 150 w 214"/>
                <a:gd name="T35" fmla="*/ 3 h 271"/>
                <a:gd name="T36" fmla="*/ 180 w 214"/>
                <a:gd name="T37" fmla="*/ 0 h 271"/>
                <a:gd name="T38" fmla="*/ 198 w 214"/>
                <a:gd name="T39" fmla="*/ 0 h 271"/>
                <a:gd name="T40" fmla="*/ 207 w 214"/>
                <a:gd name="T41" fmla="*/ 49 h 271"/>
                <a:gd name="T42" fmla="*/ 199 w 214"/>
                <a:gd name="T43" fmla="*/ 77 h 271"/>
                <a:gd name="T44" fmla="*/ 195 w 214"/>
                <a:gd name="T45" fmla="*/ 105 h 271"/>
                <a:gd name="T46" fmla="*/ 187 w 214"/>
                <a:gd name="T47" fmla="*/ 148 h 271"/>
                <a:gd name="T48" fmla="*/ 213 w 214"/>
                <a:gd name="T49" fmla="*/ 154 h 271"/>
                <a:gd name="T50" fmla="*/ 214 w 214"/>
                <a:gd name="T51" fmla="*/ 166 h 271"/>
                <a:gd name="T52" fmla="*/ 210 w 214"/>
                <a:gd name="T53" fmla="*/ 174 h 271"/>
                <a:gd name="T54" fmla="*/ 207 w 214"/>
                <a:gd name="T55" fmla="*/ 177 h 271"/>
                <a:gd name="T56" fmla="*/ 200 w 214"/>
                <a:gd name="T57" fmla="*/ 178 h 271"/>
                <a:gd name="T58" fmla="*/ 192 w 214"/>
                <a:gd name="T59" fmla="*/ 196 h 271"/>
                <a:gd name="T60" fmla="*/ 181 w 214"/>
                <a:gd name="T61" fmla="*/ 214 h 271"/>
                <a:gd name="T62" fmla="*/ 155 w 214"/>
                <a:gd name="T63" fmla="*/ 243 h 271"/>
                <a:gd name="T64" fmla="*/ 120 w 214"/>
                <a:gd name="T65" fmla="*/ 271 h 271"/>
                <a:gd name="T66" fmla="*/ 87 w 214"/>
                <a:gd name="T67" fmla="*/ 261 h 271"/>
                <a:gd name="T68" fmla="*/ 55 w 214"/>
                <a:gd name="T69" fmla="*/ 248 h 271"/>
                <a:gd name="T70" fmla="*/ 0 w 214"/>
                <a:gd name="T71" fmla="*/ 22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53" name="Freeform 220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1768475" y="3217863"/>
              <a:ext cx="71438" cy="57150"/>
            </a:xfrm>
            <a:custGeom>
              <a:avLst/>
              <a:gdLst>
                <a:gd name="T0" fmla="*/ 60 w 153"/>
                <a:gd name="T1" fmla="*/ 0 h 80"/>
                <a:gd name="T2" fmla="*/ 83 w 153"/>
                <a:gd name="T3" fmla="*/ 14 h 80"/>
                <a:gd name="T4" fmla="*/ 104 w 153"/>
                <a:gd name="T5" fmla="*/ 24 h 80"/>
                <a:gd name="T6" fmla="*/ 115 w 153"/>
                <a:gd name="T7" fmla="*/ 28 h 80"/>
                <a:gd name="T8" fmla="*/ 126 w 153"/>
                <a:gd name="T9" fmla="*/ 31 h 80"/>
                <a:gd name="T10" fmla="*/ 133 w 153"/>
                <a:gd name="T11" fmla="*/ 32 h 80"/>
                <a:gd name="T12" fmla="*/ 139 w 153"/>
                <a:gd name="T13" fmla="*/ 32 h 80"/>
                <a:gd name="T14" fmla="*/ 146 w 153"/>
                <a:gd name="T15" fmla="*/ 31 h 80"/>
                <a:gd name="T16" fmla="*/ 153 w 153"/>
                <a:gd name="T17" fmla="*/ 30 h 80"/>
                <a:gd name="T18" fmla="*/ 153 w 153"/>
                <a:gd name="T19" fmla="*/ 56 h 80"/>
                <a:gd name="T20" fmla="*/ 149 w 153"/>
                <a:gd name="T21" fmla="*/ 60 h 80"/>
                <a:gd name="T22" fmla="*/ 145 w 153"/>
                <a:gd name="T23" fmla="*/ 65 h 80"/>
                <a:gd name="T24" fmla="*/ 138 w 153"/>
                <a:gd name="T25" fmla="*/ 69 h 80"/>
                <a:gd name="T26" fmla="*/ 132 w 153"/>
                <a:gd name="T27" fmla="*/ 72 h 80"/>
                <a:gd name="T28" fmla="*/ 125 w 153"/>
                <a:gd name="T29" fmla="*/ 75 h 80"/>
                <a:gd name="T30" fmla="*/ 119 w 153"/>
                <a:gd name="T31" fmla="*/ 78 h 80"/>
                <a:gd name="T32" fmla="*/ 112 w 153"/>
                <a:gd name="T33" fmla="*/ 79 h 80"/>
                <a:gd name="T34" fmla="*/ 106 w 153"/>
                <a:gd name="T35" fmla="*/ 80 h 80"/>
                <a:gd name="T36" fmla="*/ 90 w 153"/>
                <a:gd name="T37" fmla="*/ 74 h 80"/>
                <a:gd name="T38" fmla="*/ 76 w 153"/>
                <a:gd name="T39" fmla="*/ 71 h 80"/>
                <a:gd name="T40" fmla="*/ 63 w 153"/>
                <a:gd name="T41" fmla="*/ 69 h 80"/>
                <a:gd name="T42" fmla="*/ 50 w 153"/>
                <a:gd name="T43" fmla="*/ 69 h 80"/>
                <a:gd name="T44" fmla="*/ 39 w 153"/>
                <a:gd name="T45" fmla="*/ 68 h 80"/>
                <a:gd name="T46" fmla="*/ 27 w 153"/>
                <a:gd name="T47" fmla="*/ 67 h 80"/>
                <a:gd name="T48" fmla="*/ 14 w 153"/>
                <a:gd name="T49" fmla="*/ 65 h 80"/>
                <a:gd name="T50" fmla="*/ 0 w 153"/>
                <a:gd name="T51" fmla="*/ 62 h 80"/>
                <a:gd name="T52" fmla="*/ 7 w 153"/>
                <a:gd name="T53" fmla="*/ 58 h 80"/>
                <a:gd name="T54" fmla="*/ 23 w 153"/>
                <a:gd name="T55" fmla="*/ 45 h 80"/>
                <a:gd name="T56" fmla="*/ 34 w 153"/>
                <a:gd name="T57" fmla="*/ 37 h 80"/>
                <a:gd name="T58" fmla="*/ 45 w 153"/>
                <a:gd name="T59" fmla="*/ 28 h 80"/>
                <a:gd name="T60" fmla="*/ 56 w 153"/>
                <a:gd name="T61" fmla="*/ 17 h 80"/>
                <a:gd name="T62" fmla="*/ 67 w 153"/>
                <a:gd name="T63" fmla="*/ 6 h 80"/>
                <a:gd name="T64" fmla="*/ 60 w 153"/>
                <a:gd name="T6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54" name="Freeform 221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1800225" y="3179763"/>
              <a:ext cx="142875" cy="87312"/>
            </a:xfrm>
            <a:custGeom>
              <a:avLst/>
              <a:gdLst>
                <a:gd name="T0" fmla="*/ 0 w 332"/>
                <a:gd name="T1" fmla="*/ 77 h 169"/>
                <a:gd name="T2" fmla="*/ 44 w 332"/>
                <a:gd name="T3" fmla="*/ 101 h 169"/>
                <a:gd name="T4" fmla="*/ 66 w 332"/>
                <a:gd name="T5" fmla="*/ 108 h 169"/>
                <a:gd name="T6" fmla="*/ 79 w 332"/>
                <a:gd name="T7" fmla="*/ 109 h 169"/>
                <a:gd name="T8" fmla="*/ 93 w 332"/>
                <a:gd name="T9" fmla="*/ 107 h 169"/>
                <a:gd name="T10" fmla="*/ 90 w 332"/>
                <a:gd name="T11" fmla="*/ 144 h 169"/>
                <a:gd name="T12" fmla="*/ 95 w 332"/>
                <a:gd name="T13" fmla="*/ 154 h 169"/>
                <a:gd name="T14" fmla="*/ 99 w 332"/>
                <a:gd name="T15" fmla="*/ 163 h 169"/>
                <a:gd name="T16" fmla="*/ 107 w 332"/>
                <a:gd name="T17" fmla="*/ 168 h 169"/>
                <a:gd name="T18" fmla="*/ 117 w 332"/>
                <a:gd name="T19" fmla="*/ 169 h 169"/>
                <a:gd name="T20" fmla="*/ 123 w 332"/>
                <a:gd name="T21" fmla="*/ 166 h 169"/>
                <a:gd name="T22" fmla="*/ 132 w 332"/>
                <a:gd name="T23" fmla="*/ 157 h 169"/>
                <a:gd name="T24" fmla="*/ 146 w 332"/>
                <a:gd name="T25" fmla="*/ 136 h 169"/>
                <a:gd name="T26" fmla="*/ 174 w 332"/>
                <a:gd name="T27" fmla="*/ 115 h 169"/>
                <a:gd name="T28" fmla="*/ 214 w 332"/>
                <a:gd name="T29" fmla="*/ 96 h 169"/>
                <a:gd name="T30" fmla="*/ 256 w 332"/>
                <a:gd name="T31" fmla="*/ 80 h 169"/>
                <a:gd name="T32" fmla="*/ 304 w 332"/>
                <a:gd name="T33" fmla="*/ 65 h 169"/>
                <a:gd name="T34" fmla="*/ 332 w 332"/>
                <a:gd name="T35" fmla="*/ 46 h 169"/>
                <a:gd name="T36" fmla="*/ 332 w 332"/>
                <a:gd name="T37" fmla="*/ 22 h 169"/>
                <a:gd name="T38" fmla="*/ 320 w 332"/>
                <a:gd name="T39" fmla="*/ 2 h 169"/>
                <a:gd name="T40" fmla="*/ 283 w 332"/>
                <a:gd name="T41" fmla="*/ 1 h 169"/>
                <a:gd name="T42" fmla="*/ 234 w 332"/>
                <a:gd name="T43" fmla="*/ 0 h 169"/>
                <a:gd name="T44" fmla="*/ 180 w 332"/>
                <a:gd name="T45" fmla="*/ 1 h 169"/>
                <a:gd name="T46" fmla="*/ 131 w 332"/>
                <a:gd name="T47" fmla="*/ 4 h 169"/>
                <a:gd name="T48" fmla="*/ 90 w 332"/>
                <a:gd name="T49" fmla="*/ 10 h 169"/>
                <a:gd name="T50" fmla="*/ 59 w 332"/>
                <a:gd name="T51" fmla="*/ 19 h 169"/>
                <a:gd name="T52" fmla="*/ 42 w 332"/>
                <a:gd name="T53" fmla="*/ 22 h 169"/>
                <a:gd name="T54" fmla="*/ 35 w 332"/>
                <a:gd name="T55" fmla="*/ 23 h 169"/>
                <a:gd name="T56" fmla="*/ 34 w 332"/>
                <a:gd name="T57" fmla="*/ 26 h 169"/>
                <a:gd name="T58" fmla="*/ 33 w 332"/>
                <a:gd name="T59" fmla="*/ 38 h 169"/>
                <a:gd name="T60" fmla="*/ 29 w 332"/>
                <a:gd name="T61" fmla="*/ 44 h 169"/>
                <a:gd name="T62" fmla="*/ 23 w 332"/>
                <a:gd name="T63" fmla="*/ 46 h 169"/>
                <a:gd name="T64" fmla="*/ 19 w 332"/>
                <a:gd name="T65" fmla="*/ 55 h 169"/>
                <a:gd name="T66" fmla="*/ 11 w 332"/>
                <a:gd name="T67" fmla="*/ 72 h 169"/>
                <a:gd name="T68" fmla="*/ 7 w 332"/>
                <a:gd name="T69" fmla="*/ 8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55" name="Freeform 222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1817688" y="3209925"/>
              <a:ext cx="125412" cy="122238"/>
            </a:xfrm>
            <a:custGeom>
              <a:avLst/>
              <a:gdLst>
                <a:gd name="T0" fmla="*/ 44 w 286"/>
                <a:gd name="T1" fmla="*/ 86 h 235"/>
                <a:gd name="T2" fmla="*/ 49 w 286"/>
                <a:gd name="T3" fmla="*/ 96 h 235"/>
                <a:gd name="T4" fmla="*/ 53 w 286"/>
                <a:gd name="T5" fmla="*/ 105 h 235"/>
                <a:gd name="T6" fmla="*/ 61 w 286"/>
                <a:gd name="T7" fmla="*/ 110 h 235"/>
                <a:gd name="T8" fmla="*/ 71 w 286"/>
                <a:gd name="T9" fmla="*/ 111 h 235"/>
                <a:gd name="T10" fmla="*/ 77 w 286"/>
                <a:gd name="T11" fmla="*/ 108 h 235"/>
                <a:gd name="T12" fmla="*/ 86 w 286"/>
                <a:gd name="T13" fmla="*/ 99 h 235"/>
                <a:gd name="T14" fmla="*/ 100 w 286"/>
                <a:gd name="T15" fmla="*/ 78 h 235"/>
                <a:gd name="T16" fmla="*/ 128 w 286"/>
                <a:gd name="T17" fmla="*/ 57 h 235"/>
                <a:gd name="T18" fmla="*/ 168 w 286"/>
                <a:gd name="T19" fmla="*/ 38 h 235"/>
                <a:gd name="T20" fmla="*/ 210 w 286"/>
                <a:gd name="T21" fmla="*/ 22 h 235"/>
                <a:gd name="T22" fmla="*/ 258 w 286"/>
                <a:gd name="T23" fmla="*/ 7 h 235"/>
                <a:gd name="T24" fmla="*/ 286 w 286"/>
                <a:gd name="T25" fmla="*/ 11 h 235"/>
                <a:gd name="T26" fmla="*/ 282 w 286"/>
                <a:gd name="T27" fmla="*/ 32 h 235"/>
                <a:gd name="T28" fmla="*/ 272 w 286"/>
                <a:gd name="T29" fmla="*/ 70 h 235"/>
                <a:gd name="T30" fmla="*/ 254 w 286"/>
                <a:gd name="T31" fmla="*/ 128 h 235"/>
                <a:gd name="T32" fmla="*/ 244 w 286"/>
                <a:gd name="T33" fmla="*/ 174 h 235"/>
                <a:gd name="T34" fmla="*/ 240 w 286"/>
                <a:gd name="T35" fmla="*/ 206 h 235"/>
                <a:gd name="T36" fmla="*/ 146 w 286"/>
                <a:gd name="T37" fmla="*/ 216 h 235"/>
                <a:gd name="T38" fmla="*/ 138 w 286"/>
                <a:gd name="T39" fmla="*/ 218 h 235"/>
                <a:gd name="T40" fmla="*/ 132 w 286"/>
                <a:gd name="T41" fmla="*/ 223 h 235"/>
                <a:gd name="T42" fmla="*/ 127 w 286"/>
                <a:gd name="T43" fmla="*/ 235 h 235"/>
                <a:gd name="T44" fmla="*/ 109 w 286"/>
                <a:gd name="T45" fmla="*/ 217 h 235"/>
                <a:gd name="T46" fmla="*/ 94 w 286"/>
                <a:gd name="T47" fmla="*/ 199 h 235"/>
                <a:gd name="T48" fmla="*/ 69 w 286"/>
                <a:gd name="T49" fmla="*/ 160 h 235"/>
                <a:gd name="T50" fmla="*/ 55 w 286"/>
                <a:gd name="T51" fmla="*/ 142 h 235"/>
                <a:gd name="T52" fmla="*/ 41 w 286"/>
                <a:gd name="T53" fmla="*/ 125 h 235"/>
                <a:gd name="T54" fmla="*/ 22 w 286"/>
                <a:gd name="T55" fmla="*/ 110 h 235"/>
                <a:gd name="T56" fmla="*/ 0 w 286"/>
                <a:gd name="T57" fmla="*/ 99 h 235"/>
                <a:gd name="T58" fmla="*/ 13 w 286"/>
                <a:gd name="T59" fmla="*/ 97 h 235"/>
                <a:gd name="T60" fmla="*/ 26 w 286"/>
                <a:gd name="T61" fmla="*/ 91 h 235"/>
                <a:gd name="T62" fmla="*/ 39 w 286"/>
                <a:gd name="T63" fmla="*/ 84 h 235"/>
                <a:gd name="T64" fmla="*/ 47 w 286"/>
                <a:gd name="T65" fmla="*/ 7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56" name="Freeform 223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1868488" y="3322638"/>
              <a:ext cx="84137" cy="100012"/>
            </a:xfrm>
            <a:custGeom>
              <a:avLst/>
              <a:gdLst>
                <a:gd name="T0" fmla="*/ 188 w 205"/>
                <a:gd name="T1" fmla="*/ 185 h 191"/>
                <a:gd name="T2" fmla="*/ 175 w 205"/>
                <a:gd name="T3" fmla="*/ 185 h 191"/>
                <a:gd name="T4" fmla="*/ 158 w 205"/>
                <a:gd name="T5" fmla="*/ 185 h 191"/>
                <a:gd name="T6" fmla="*/ 144 w 205"/>
                <a:gd name="T7" fmla="*/ 180 h 191"/>
                <a:gd name="T8" fmla="*/ 136 w 205"/>
                <a:gd name="T9" fmla="*/ 173 h 191"/>
                <a:gd name="T10" fmla="*/ 129 w 205"/>
                <a:gd name="T11" fmla="*/ 163 h 191"/>
                <a:gd name="T12" fmla="*/ 120 w 205"/>
                <a:gd name="T13" fmla="*/ 147 h 191"/>
                <a:gd name="T14" fmla="*/ 110 w 205"/>
                <a:gd name="T15" fmla="*/ 131 h 191"/>
                <a:gd name="T16" fmla="*/ 99 w 205"/>
                <a:gd name="T17" fmla="*/ 121 h 191"/>
                <a:gd name="T18" fmla="*/ 93 w 205"/>
                <a:gd name="T19" fmla="*/ 126 h 191"/>
                <a:gd name="T20" fmla="*/ 90 w 205"/>
                <a:gd name="T21" fmla="*/ 135 h 191"/>
                <a:gd name="T22" fmla="*/ 84 w 205"/>
                <a:gd name="T23" fmla="*/ 130 h 191"/>
                <a:gd name="T24" fmla="*/ 72 w 205"/>
                <a:gd name="T25" fmla="*/ 113 h 191"/>
                <a:gd name="T26" fmla="*/ 56 w 205"/>
                <a:gd name="T27" fmla="*/ 87 h 191"/>
                <a:gd name="T28" fmla="*/ 41 w 205"/>
                <a:gd name="T29" fmla="*/ 67 h 191"/>
                <a:gd name="T30" fmla="*/ 31 w 205"/>
                <a:gd name="T31" fmla="*/ 58 h 191"/>
                <a:gd name="T32" fmla="*/ 26 w 205"/>
                <a:gd name="T33" fmla="*/ 60 h 191"/>
                <a:gd name="T34" fmla="*/ 29 w 205"/>
                <a:gd name="T35" fmla="*/ 69 h 191"/>
                <a:gd name="T36" fmla="*/ 34 w 205"/>
                <a:gd name="T37" fmla="*/ 78 h 191"/>
                <a:gd name="T38" fmla="*/ 41 w 205"/>
                <a:gd name="T39" fmla="*/ 84 h 191"/>
                <a:gd name="T40" fmla="*/ 46 w 205"/>
                <a:gd name="T41" fmla="*/ 105 h 191"/>
                <a:gd name="T42" fmla="*/ 13 w 205"/>
                <a:gd name="T43" fmla="*/ 98 h 191"/>
                <a:gd name="T44" fmla="*/ 4 w 205"/>
                <a:gd name="T45" fmla="*/ 84 h 191"/>
                <a:gd name="T46" fmla="*/ 0 w 205"/>
                <a:gd name="T47" fmla="*/ 60 h 191"/>
                <a:gd name="T48" fmla="*/ 0 w 205"/>
                <a:gd name="T49" fmla="*/ 38 h 191"/>
                <a:gd name="T50" fmla="*/ 3 w 205"/>
                <a:gd name="T51" fmla="*/ 28 h 191"/>
                <a:gd name="T52" fmla="*/ 8 w 205"/>
                <a:gd name="T53" fmla="*/ 22 h 191"/>
                <a:gd name="T54" fmla="*/ 14 w 205"/>
                <a:gd name="T55" fmla="*/ 13 h 191"/>
                <a:gd name="T56" fmla="*/ 20 w 205"/>
                <a:gd name="T57" fmla="*/ 4 h 191"/>
                <a:gd name="T58" fmla="*/ 28 w 205"/>
                <a:gd name="T59" fmla="*/ 0 h 191"/>
                <a:gd name="T60" fmla="*/ 126 w 205"/>
                <a:gd name="T61" fmla="*/ 6 h 191"/>
                <a:gd name="T62" fmla="*/ 127 w 205"/>
                <a:gd name="T63" fmla="*/ 21 h 191"/>
                <a:gd name="T64" fmla="*/ 130 w 205"/>
                <a:gd name="T65" fmla="*/ 37 h 191"/>
                <a:gd name="T66" fmla="*/ 143 w 205"/>
                <a:gd name="T67" fmla="*/ 70 h 191"/>
                <a:gd name="T68" fmla="*/ 165 w 205"/>
                <a:gd name="T69" fmla="*/ 102 h 191"/>
                <a:gd name="T70" fmla="*/ 177 w 205"/>
                <a:gd name="T71" fmla="*/ 117 h 191"/>
                <a:gd name="T72" fmla="*/ 192 w 205"/>
                <a:gd name="T73" fmla="*/ 130 h 191"/>
                <a:gd name="T74" fmla="*/ 189 w 205"/>
                <a:gd name="T75" fmla="*/ 143 h 191"/>
                <a:gd name="T76" fmla="*/ 189 w 205"/>
                <a:gd name="T77" fmla="*/ 156 h 191"/>
                <a:gd name="T78" fmla="*/ 192 w 205"/>
                <a:gd name="T79" fmla="*/ 191 h 191"/>
                <a:gd name="T80" fmla="*/ 205 w 205"/>
                <a:gd name="T81" fmla="*/ 18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57" name="Freeform 224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1949450" y="3376613"/>
              <a:ext cx="142875" cy="79375"/>
            </a:xfrm>
            <a:custGeom>
              <a:avLst/>
              <a:gdLst>
                <a:gd name="T0" fmla="*/ 3 w 329"/>
                <a:gd name="T1" fmla="*/ 58 h 154"/>
                <a:gd name="T2" fmla="*/ 0 w 329"/>
                <a:gd name="T3" fmla="*/ 42 h 154"/>
                <a:gd name="T4" fmla="*/ 2 w 329"/>
                <a:gd name="T5" fmla="*/ 31 h 154"/>
                <a:gd name="T6" fmla="*/ 17 w 329"/>
                <a:gd name="T7" fmla="*/ 33 h 154"/>
                <a:gd name="T8" fmla="*/ 36 w 329"/>
                <a:gd name="T9" fmla="*/ 41 h 154"/>
                <a:gd name="T10" fmla="*/ 49 w 329"/>
                <a:gd name="T11" fmla="*/ 43 h 154"/>
                <a:gd name="T12" fmla="*/ 67 w 329"/>
                <a:gd name="T13" fmla="*/ 43 h 154"/>
                <a:gd name="T14" fmla="*/ 86 w 329"/>
                <a:gd name="T15" fmla="*/ 39 h 154"/>
                <a:gd name="T16" fmla="*/ 110 w 329"/>
                <a:gd name="T17" fmla="*/ 30 h 154"/>
                <a:gd name="T18" fmla="*/ 140 w 329"/>
                <a:gd name="T19" fmla="*/ 13 h 154"/>
                <a:gd name="T20" fmla="*/ 162 w 329"/>
                <a:gd name="T21" fmla="*/ 4 h 154"/>
                <a:gd name="T22" fmla="*/ 179 w 329"/>
                <a:gd name="T23" fmla="*/ 0 h 154"/>
                <a:gd name="T24" fmla="*/ 203 w 329"/>
                <a:gd name="T25" fmla="*/ 0 h 154"/>
                <a:gd name="T26" fmla="*/ 224 w 329"/>
                <a:gd name="T27" fmla="*/ 6 h 154"/>
                <a:gd name="T28" fmla="*/ 243 w 329"/>
                <a:gd name="T29" fmla="*/ 15 h 154"/>
                <a:gd name="T30" fmla="*/ 259 w 329"/>
                <a:gd name="T31" fmla="*/ 28 h 154"/>
                <a:gd name="T32" fmla="*/ 280 w 329"/>
                <a:gd name="T33" fmla="*/ 46 h 154"/>
                <a:gd name="T34" fmla="*/ 302 w 329"/>
                <a:gd name="T35" fmla="*/ 61 h 154"/>
                <a:gd name="T36" fmla="*/ 319 w 329"/>
                <a:gd name="T37" fmla="*/ 67 h 154"/>
                <a:gd name="T38" fmla="*/ 313 w 329"/>
                <a:gd name="T39" fmla="*/ 82 h 154"/>
                <a:gd name="T40" fmla="*/ 293 w 329"/>
                <a:gd name="T41" fmla="*/ 106 h 154"/>
                <a:gd name="T42" fmla="*/ 277 w 329"/>
                <a:gd name="T43" fmla="*/ 138 h 154"/>
                <a:gd name="T44" fmla="*/ 265 w 329"/>
                <a:gd name="T45" fmla="*/ 153 h 154"/>
                <a:gd name="T46" fmla="*/ 253 w 329"/>
                <a:gd name="T47" fmla="*/ 146 h 154"/>
                <a:gd name="T48" fmla="*/ 240 w 329"/>
                <a:gd name="T49" fmla="*/ 136 h 154"/>
                <a:gd name="T50" fmla="*/ 230 w 329"/>
                <a:gd name="T51" fmla="*/ 126 h 154"/>
                <a:gd name="T52" fmla="*/ 230 w 329"/>
                <a:gd name="T53" fmla="*/ 114 h 154"/>
                <a:gd name="T54" fmla="*/ 235 w 329"/>
                <a:gd name="T55" fmla="*/ 100 h 154"/>
                <a:gd name="T56" fmla="*/ 249 w 329"/>
                <a:gd name="T57" fmla="*/ 86 h 154"/>
                <a:gd name="T58" fmla="*/ 233 w 329"/>
                <a:gd name="T59" fmla="*/ 68 h 154"/>
                <a:gd name="T60" fmla="*/ 207 w 329"/>
                <a:gd name="T61" fmla="*/ 55 h 154"/>
                <a:gd name="T62" fmla="*/ 195 w 329"/>
                <a:gd name="T63" fmla="*/ 41 h 154"/>
                <a:gd name="T64" fmla="*/ 179 w 329"/>
                <a:gd name="T65" fmla="*/ 34 h 154"/>
                <a:gd name="T66" fmla="*/ 163 w 329"/>
                <a:gd name="T67" fmla="*/ 41 h 154"/>
                <a:gd name="T68" fmla="*/ 150 w 329"/>
                <a:gd name="T69" fmla="*/ 50 h 154"/>
                <a:gd name="T70" fmla="*/ 140 w 329"/>
                <a:gd name="T71" fmla="*/ 61 h 154"/>
                <a:gd name="T72" fmla="*/ 132 w 329"/>
                <a:gd name="T73" fmla="*/ 74 h 154"/>
                <a:gd name="T74" fmla="*/ 128 w 329"/>
                <a:gd name="T75" fmla="*/ 88 h 154"/>
                <a:gd name="T76" fmla="*/ 123 w 329"/>
                <a:gd name="T77" fmla="*/ 109 h 154"/>
                <a:gd name="T78" fmla="*/ 122 w 329"/>
                <a:gd name="T79" fmla="*/ 125 h 154"/>
                <a:gd name="T80" fmla="*/ 118 w 329"/>
                <a:gd name="T81" fmla="*/ 129 h 154"/>
                <a:gd name="T82" fmla="*/ 108 w 329"/>
                <a:gd name="T83" fmla="*/ 135 h 154"/>
                <a:gd name="T84" fmla="*/ 96 w 329"/>
                <a:gd name="T85" fmla="*/ 135 h 154"/>
                <a:gd name="T86" fmla="*/ 83 w 329"/>
                <a:gd name="T87" fmla="*/ 129 h 154"/>
                <a:gd name="T88" fmla="*/ 66 w 329"/>
                <a:gd name="T89" fmla="*/ 116 h 154"/>
                <a:gd name="T90" fmla="*/ 48 w 329"/>
                <a:gd name="T91" fmla="*/ 94 h 154"/>
                <a:gd name="T92" fmla="*/ 33 w 329"/>
                <a:gd name="T93" fmla="*/ 80 h 154"/>
                <a:gd name="T94" fmla="*/ 22 w 329"/>
                <a:gd name="T95" fmla="*/ 74 h 154"/>
                <a:gd name="T96" fmla="*/ 3 w 329"/>
                <a:gd name="T97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58" name="Freeform 225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2630488" y="4630738"/>
              <a:ext cx="133350" cy="155575"/>
            </a:xfrm>
            <a:custGeom>
              <a:avLst/>
              <a:gdLst>
                <a:gd name="T0" fmla="*/ 297 w 306"/>
                <a:gd name="T1" fmla="*/ 181 h 293"/>
                <a:gd name="T2" fmla="*/ 296 w 306"/>
                <a:gd name="T3" fmla="*/ 185 h 293"/>
                <a:gd name="T4" fmla="*/ 291 w 306"/>
                <a:gd name="T5" fmla="*/ 194 h 293"/>
                <a:gd name="T6" fmla="*/ 282 w 306"/>
                <a:gd name="T7" fmla="*/ 199 h 293"/>
                <a:gd name="T8" fmla="*/ 272 w 306"/>
                <a:gd name="T9" fmla="*/ 201 h 293"/>
                <a:gd name="T10" fmla="*/ 263 w 306"/>
                <a:gd name="T11" fmla="*/ 207 h 293"/>
                <a:gd name="T12" fmla="*/ 253 w 306"/>
                <a:gd name="T13" fmla="*/ 229 h 293"/>
                <a:gd name="T14" fmla="*/ 242 w 306"/>
                <a:gd name="T15" fmla="*/ 254 h 293"/>
                <a:gd name="T16" fmla="*/ 231 w 306"/>
                <a:gd name="T17" fmla="*/ 267 h 293"/>
                <a:gd name="T18" fmla="*/ 221 w 306"/>
                <a:gd name="T19" fmla="*/ 273 h 293"/>
                <a:gd name="T20" fmla="*/ 200 w 306"/>
                <a:gd name="T21" fmla="*/ 281 h 293"/>
                <a:gd name="T22" fmla="*/ 164 w 306"/>
                <a:gd name="T23" fmla="*/ 290 h 293"/>
                <a:gd name="T24" fmla="*/ 139 w 306"/>
                <a:gd name="T25" fmla="*/ 293 h 293"/>
                <a:gd name="T26" fmla="*/ 123 w 306"/>
                <a:gd name="T27" fmla="*/ 293 h 293"/>
                <a:gd name="T28" fmla="*/ 106 w 306"/>
                <a:gd name="T29" fmla="*/ 290 h 293"/>
                <a:gd name="T30" fmla="*/ 92 w 306"/>
                <a:gd name="T31" fmla="*/ 286 h 293"/>
                <a:gd name="T32" fmla="*/ 80 w 306"/>
                <a:gd name="T33" fmla="*/ 278 h 293"/>
                <a:gd name="T34" fmla="*/ 71 w 306"/>
                <a:gd name="T35" fmla="*/ 268 h 293"/>
                <a:gd name="T36" fmla="*/ 1 w 306"/>
                <a:gd name="T37" fmla="*/ 236 h 293"/>
                <a:gd name="T38" fmla="*/ 0 w 306"/>
                <a:gd name="T39" fmla="*/ 88 h 293"/>
                <a:gd name="T40" fmla="*/ 1 w 306"/>
                <a:gd name="T41" fmla="*/ 49 h 293"/>
                <a:gd name="T42" fmla="*/ 4 w 306"/>
                <a:gd name="T43" fmla="*/ 35 h 293"/>
                <a:gd name="T44" fmla="*/ 11 w 306"/>
                <a:gd name="T45" fmla="*/ 21 h 293"/>
                <a:gd name="T46" fmla="*/ 20 w 306"/>
                <a:gd name="T47" fmla="*/ 8 h 293"/>
                <a:gd name="T48" fmla="*/ 41 w 306"/>
                <a:gd name="T49" fmla="*/ 2 h 293"/>
                <a:gd name="T50" fmla="*/ 53 w 306"/>
                <a:gd name="T51" fmla="*/ 0 h 293"/>
                <a:gd name="T52" fmla="*/ 72 w 306"/>
                <a:gd name="T53" fmla="*/ 6 h 293"/>
                <a:gd name="T54" fmla="*/ 80 w 306"/>
                <a:gd name="T55" fmla="*/ 7 h 293"/>
                <a:gd name="T56" fmla="*/ 84 w 306"/>
                <a:gd name="T57" fmla="*/ 4 h 293"/>
                <a:gd name="T58" fmla="*/ 87 w 306"/>
                <a:gd name="T59" fmla="*/ 5 h 293"/>
                <a:gd name="T60" fmla="*/ 90 w 306"/>
                <a:gd name="T61" fmla="*/ 11 h 293"/>
                <a:gd name="T62" fmla="*/ 99 w 306"/>
                <a:gd name="T63" fmla="*/ 19 h 293"/>
                <a:gd name="T64" fmla="*/ 121 w 306"/>
                <a:gd name="T65" fmla="*/ 31 h 293"/>
                <a:gd name="T66" fmla="*/ 148 w 306"/>
                <a:gd name="T67" fmla="*/ 41 h 293"/>
                <a:gd name="T68" fmla="*/ 182 w 306"/>
                <a:gd name="T69" fmla="*/ 59 h 293"/>
                <a:gd name="T70" fmla="*/ 210 w 306"/>
                <a:gd name="T71" fmla="*/ 79 h 293"/>
                <a:gd name="T72" fmla="*/ 241 w 306"/>
                <a:gd name="T73" fmla="*/ 102 h 293"/>
                <a:gd name="T74" fmla="*/ 261 w 306"/>
                <a:gd name="T75" fmla="*/ 117 h 293"/>
                <a:gd name="T76" fmla="*/ 266 w 306"/>
                <a:gd name="T77" fmla="*/ 124 h 293"/>
                <a:gd name="T78" fmla="*/ 280 w 306"/>
                <a:gd name="T79" fmla="*/ 135 h 293"/>
                <a:gd name="T80" fmla="*/ 299 w 306"/>
                <a:gd name="T81" fmla="*/ 151 h 293"/>
                <a:gd name="T82" fmla="*/ 306 w 306"/>
                <a:gd name="T83" fmla="*/ 161 h 293"/>
                <a:gd name="T84" fmla="*/ 304 w 306"/>
                <a:gd name="T85" fmla="*/ 166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59" name="Freeform 226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4176713" y="1247775"/>
              <a:ext cx="236537" cy="92075"/>
            </a:xfrm>
            <a:custGeom>
              <a:avLst/>
              <a:gdLst>
                <a:gd name="T0" fmla="*/ 74 w 546"/>
                <a:gd name="T1" fmla="*/ 19 h 173"/>
                <a:gd name="T2" fmla="*/ 94 w 546"/>
                <a:gd name="T3" fmla="*/ 34 h 173"/>
                <a:gd name="T4" fmla="*/ 110 w 546"/>
                <a:gd name="T5" fmla="*/ 27 h 173"/>
                <a:gd name="T6" fmla="*/ 132 w 546"/>
                <a:gd name="T7" fmla="*/ 27 h 173"/>
                <a:gd name="T8" fmla="*/ 161 w 546"/>
                <a:gd name="T9" fmla="*/ 44 h 173"/>
                <a:gd name="T10" fmla="*/ 209 w 546"/>
                <a:gd name="T11" fmla="*/ 19 h 173"/>
                <a:gd name="T12" fmla="*/ 243 w 546"/>
                <a:gd name="T13" fmla="*/ 19 h 173"/>
                <a:gd name="T14" fmla="*/ 260 w 546"/>
                <a:gd name="T15" fmla="*/ 16 h 173"/>
                <a:gd name="T16" fmla="*/ 269 w 546"/>
                <a:gd name="T17" fmla="*/ 14 h 173"/>
                <a:gd name="T18" fmla="*/ 279 w 546"/>
                <a:gd name="T19" fmla="*/ 11 h 173"/>
                <a:gd name="T20" fmla="*/ 286 w 546"/>
                <a:gd name="T21" fmla="*/ 3 h 173"/>
                <a:gd name="T22" fmla="*/ 321 w 546"/>
                <a:gd name="T23" fmla="*/ 5 h 173"/>
                <a:gd name="T24" fmla="*/ 333 w 546"/>
                <a:gd name="T25" fmla="*/ 12 h 173"/>
                <a:gd name="T26" fmla="*/ 348 w 546"/>
                <a:gd name="T27" fmla="*/ 7 h 173"/>
                <a:gd name="T28" fmla="*/ 353 w 546"/>
                <a:gd name="T29" fmla="*/ 0 h 173"/>
                <a:gd name="T30" fmla="*/ 367 w 546"/>
                <a:gd name="T31" fmla="*/ 7 h 173"/>
                <a:gd name="T32" fmla="*/ 389 w 546"/>
                <a:gd name="T33" fmla="*/ 7 h 173"/>
                <a:gd name="T34" fmla="*/ 436 w 546"/>
                <a:gd name="T35" fmla="*/ 1 h 173"/>
                <a:gd name="T36" fmla="*/ 482 w 546"/>
                <a:gd name="T37" fmla="*/ 6 h 173"/>
                <a:gd name="T38" fmla="*/ 528 w 546"/>
                <a:gd name="T39" fmla="*/ 12 h 173"/>
                <a:gd name="T40" fmla="*/ 545 w 546"/>
                <a:gd name="T41" fmla="*/ 49 h 173"/>
                <a:gd name="T42" fmla="*/ 537 w 546"/>
                <a:gd name="T43" fmla="*/ 60 h 173"/>
                <a:gd name="T44" fmla="*/ 513 w 546"/>
                <a:gd name="T45" fmla="*/ 62 h 173"/>
                <a:gd name="T46" fmla="*/ 483 w 546"/>
                <a:gd name="T47" fmla="*/ 54 h 173"/>
                <a:gd name="T48" fmla="*/ 413 w 546"/>
                <a:gd name="T49" fmla="*/ 44 h 173"/>
                <a:gd name="T50" fmla="*/ 438 w 546"/>
                <a:gd name="T51" fmla="*/ 81 h 173"/>
                <a:gd name="T52" fmla="*/ 471 w 546"/>
                <a:gd name="T53" fmla="*/ 102 h 173"/>
                <a:gd name="T54" fmla="*/ 493 w 546"/>
                <a:gd name="T55" fmla="*/ 119 h 173"/>
                <a:gd name="T56" fmla="*/ 475 w 546"/>
                <a:gd name="T57" fmla="*/ 136 h 173"/>
                <a:gd name="T58" fmla="*/ 449 w 546"/>
                <a:gd name="T59" fmla="*/ 142 h 173"/>
                <a:gd name="T60" fmla="*/ 426 w 546"/>
                <a:gd name="T61" fmla="*/ 141 h 173"/>
                <a:gd name="T62" fmla="*/ 412 w 546"/>
                <a:gd name="T63" fmla="*/ 134 h 173"/>
                <a:gd name="T64" fmla="*/ 399 w 546"/>
                <a:gd name="T65" fmla="*/ 130 h 173"/>
                <a:gd name="T66" fmla="*/ 385 w 546"/>
                <a:gd name="T67" fmla="*/ 121 h 173"/>
                <a:gd name="T68" fmla="*/ 375 w 546"/>
                <a:gd name="T69" fmla="*/ 104 h 173"/>
                <a:gd name="T70" fmla="*/ 365 w 546"/>
                <a:gd name="T71" fmla="*/ 92 h 173"/>
                <a:gd name="T72" fmla="*/ 344 w 546"/>
                <a:gd name="T73" fmla="*/ 84 h 173"/>
                <a:gd name="T74" fmla="*/ 325 w 546"/>
                <a:gd name="T75" fmla="*/ 76 h 173"/>
                <a:gd name="T76" fmla="*/ 303 w 546"/>
                <a:gd name="T77" fmla="*/ 87 h 173"/>
                <a:gd name="T78" fmla="*/ 258 w 546"/>
                <a:gd name="T79" fmla="*/ 134 h 173"/>
                <a:gd name="T80" fmla="*/ 236 w 546"/>
                <a:gd name="T81" fmla="*/ 163 h 173"/>
                <a:gd name="T82" fmla="*/ 220 w 546"/>
                <a:gd name="T83" fmla="*/ 172 h 173"/>
                <a:gd name="T84" fmla="*/ 188 w 546"/>
                <a:gd name="T85" fmla="*/ 167 h 173"/>
                <a:gd name="T86" fmla="*/ 165 w 546"/>
                <a:gd name="T87" fmla="*/ 155 h 173"/>
                <a:gd name="T88" fmla="*/ 113 w 546"/>
                <a:gd name="T89" fmla="*/ 105 h 173"/>
                <a:gd name="T90" fmla="*/ 95 w 546"/>
                <a:gd name="T91" fmla="*/ 91 h 173"/>
                <a:gd name="T92" fmla="*/ 60 w 546"/>
                <a:gd name="T93" fmla="*/ 76 h 173"/>
                <a:gd name="T94" fmla="*/ 16 w 546"/>
                <a:gd name="T95" fmla="*/ 58 h 173"/>
                <a:gd name="T96" fmla="*/ 11 w 546"/>
                <a:gd name="T97" fmla="*/ 34 h 173"/>
                <a:gd name="T98" fmla="*/ 28 w 546"/>
                <a:gd name="T99" fmla="*/ 19 h 173"/>
                <a:gd name="T100" fmla="*/ 47 w 546"/>
                <a:gd name="T101" fmla="*/ 1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60" name="Freeform 227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4103688" y="1477963"/>
              <a:ext cx="449262" cy="361950"/>
            </a:xfrm>
            <a:custGeom>
              <a:avLst/>
              <a:gdLst>
                <a:gd name="T0" fmla="*/ 240 w 1037"/>
                <a:gd name="T1" fmla="*/ 622 h 690"/>
                <a:gd name="T2" fmla="*/ 155 w 1037"/>
                <a:gd name="T3" fmla="*/ 683 h 690"/>
                <a:gd name="T4" fmla="*/ 32 w 1037"/>
                <a:gd name="T5" fmla="*/ 654 h 690"/>
                <a:gd name="T6" fmla="*/ 67 w 1037"/>
                <a:gd name="T7" fmla="*/ 634 h 690"/>
                <a:gd name="T8" fmla="*/ 18 w 1037"/>
                <a:gd name="T9" fmla="*/ 596 h 690"/>
                <a:gd name="T10" fmla="*/ 44 w 1037"/>
                <a:gd name="T11" fmla="*/ 595 h 690"/>
                <a:gd name="T12" fmla="*/ 67 w 1037"/>
                <a:gd name="T13" fmla="*/ 567 h 690"/>
                <a:gd name="T14" fmla="*/ 8 w 1037"/>
                <a:gd name="T15" fmla="*/ 546 h 690"/>
                <a:gd name="T16" fmla="*/ 74 w 1037"/>
                <a:gd name="T17" fmla="*/ 523 h 690"/>
                <a:gd name="T18" fmla="*/ 0 w 1037"/>
                <a:gd name="T19" fmla="*/ 499 h 690"/>
                <a:gd name="T20" fmla="*/ 20 w 1037"/>
                <a:gd name="T21" fmla="*/ 456 h 690"/>
                <a:gd name="T22" fmla="*/ 37 w 1037"/>
                <a:gd name="T23" fmla="*/ 461 h 690"/>
                <a:gd name="T24" fmla="*/ 77 w 1037"/>
                <a:gd name="T25" fmla="*/ 449 h 690"/>
                <a:gd name="T26" fmla="*/ 92 w 1037"/>
                <a:gd name="T27" fmla="*/ 424 h 690"/>
                <a:gd name="T28" fmla="*/ 130 w 1037"/>
                <a:gd name="T29" fmla="*/ 409 h 690"/>
                <a:gd name="T30" fmla="*/ 220 w 1037"/>
                <a:gd name="T31" fmla="*/ 382 h 690"/>
                <a:gd name="T32" fmla="*/ 227 w 1037"/>
                <a:gd name="T33" fmla="*/ 339 h 690"/>
                <a:gd name="T34" fmla="*/ 283 w 1037"/>
                <a:gd name="T35" fmla="*/ 325 h 690"/>
                <a:gd name="T36" fmla="*/ 282 w 1037"/>
                <a:gd name="T37" fmla="*/ 310 h 690"/>
                <a:gd name="T38" fmla="*/ 298 w 1037"/>
                <a:gd name="T39" fmla="*/ 285 h 690"/>
                <a:gd name="T40" fmla="*/ 335 w 1037"/>
                <a:gd name="T41" fmla="*/ 243 h 690"/>
                <a:gd name="T42" fmla="*/ 343 w 1037"/>
                <a:gd name="T43" fmla="*/ 226 h 690"/>
                <a:gd name="T44" fmla="*/ 390 w 1037"/>
                <a:gd name="T45" fmla="*/ 200 h 690"/>
                <a:gd name="T46" fmla="*/ 387 w 1037"/>
                <a:gd name="T47" fmla="*/ 157 h 690"/>
                <a:gd name="T48" fmla="*/ 373 w 1037"/>
                <a:gd name="T49" fmla="*/ 142 h 690"/>
                <a:gd name="T50" fmla="*/ 334 w 1037"/>
                <a:gd name="T51" fmla="*/ 154 h 690"/>
                <a:gd name="T52" fmla="*/ 390 w 1037"/>
                <a:gd name="T53" fmla="*/ 103 h 690"/>
                <a:gd name="T54" fmla="*/ 411 w 1037"/>
                <a:gd name="T55" fmla="*/ 96 h 690"/>
                <a:gd name="T56" fmla="*/ 463 w 1037"/>
                <a:gd name="T57" fmla="*/ 114 h 690"/>
                <a:gd name="T58" fmla="*/ 466 w 1037"/>
                <a:gd name="T59" fmla="*/ 91 h 690"/>
                <a:gd name="T60" fmla="*/ 558 w 1037"/>
                <a:gd name="T61" fmla="*/ 61 h 690"/>
                <a:gd name="T62" fmla="*/ 591 w 1037"/>
                <a:gd name="T63" fmla="*/ 63 h 690"/>
                <a:gd name="T64" fmla="*/ 645 w 1037"/>
                <a:gd name="T65" fmla="*/ 55 h 690"/>
                <a:gd name="T66" fmla="*/ 645 w 1037"/>
                <a:gd name="T67" fmla="*/ 33 h 690"/>
                <a:gd name="T68" fmla="*/ 699 w 1037"/>
                <a:gd name="T69" fmla="*/ 13 h 690"/>
                <a:gd name="T70" fmla="*/ 705 w 1037"/>
                <a:gd name="T71" fmla="*/ 29 h 690"/>
                <a:gd name="T72" fmla="*/ 712 w 1037"/>
                <a:gd name="T73" fmla="*/ 40 h 690"/>
                <a:gd name="T74" fmla="*/ 758 w 1037"/>
                <a:gd name="T75" fmla="*/ 12 h 690"/>
                <a:gd name="T76" fmla="*/ 817 w 1037"/>
                <a:gd name="T77" fmla="*/ 6 h 690"/>
                <a:gd name="T78" fmla="*/ 844 w 1037"/>
                <a:gd name="T79" fmla="*/ 8 h 690"/>
                <a:gd name="T80" fmla="*/ 862 w 1037"/>
                <a:gd name="T81" fmla="*/ 11 h 690"/>
                <a:gd name="T82" fmla="*/ 924 w 1037"/>
                <a:gd name="T83" fmla="*/ 6 h 690"/>
                <a:gd name="T84" fmla="*/ 1037 w 1037"/>
                <a:gd name="T85" fmla="*/ 43 h 690"/>
                <a:gd name="T86" fmla="*/ 1005 w 1037"/>
                <a:gd name="T87" fmla="*/ 79 h 690"/>
                <a:gd name="T88" fmla="*/ 930 w 1037"/>
                <a:gd name="T89" fmla="*/ 55 h 690"/>
                <a:gd name="T90" fmla="*/ 873 w 1037"/>
                <a:gd name="T91" fmla="*/ 74 h 690"/>
                <a:gd name="T92" fmla="*/ 848 w 1037"/>
                <a:gd name="T93" fmla="*/ 116 h 690"/>
                <a:gd name="T94" fmla="*/ 811 w 1037"/>
                <a:gd name="T95" fmla="*/ 111 h 690"/>
                <a:gd name="T96" fmla="*/ 745 w 1037"/>
                <a:gd name="T97" fmla="*/ 128 h 690"/>
                <a:gd name="T98" fmla="*/ 694 w 1037"/>
                <a:gd name="T99" fmla="*/ 92 h 690"/>
                <a:gd name="T100" fmla="*/ 620 w 1037"/>
                <a:gd name="T101" fmla="*/ 112 h 690"/>
                <a:gd name="T102" fmla="*/ 534 w 1037"/>
                <a:gd name="T103" fmla="*/ 134 h 690"/>
                <a:gd name="T104" fmla="*/ 486 w 1037"/>
                <a:gd name="T105" fmla="*/ 210 h 690"/>
                <a:gd name="T106" fmla="*/ 430 w 1037"/>
                <a:gd name="T107" fmla="*/ 279 h 690"/>
                <a:gd name="T108" fmla="*/ 399 w 1037"/>
                <a:gd name="T109" fmla="*/ 364 h 690"/>
                <a:gd name="T110" fmla="*/ 333 w 1037"/>
                <a:gd name="T111" fmla="*/ 425 h 690"/>
                <a:gd name="T112" fmla="*/ 355 w 1037"/>
                <a:gd name="T113" fmla="*/ 497 h 690"/>
                <a:gd name="T114" fmla="*/ 354 w 1037"/>
                <a:gd name="T115" fmla="*/ 558 h 690"/>
                <a:gd name="T116" fmla="*/ 331 w 1037"/>
                <a:gd name="T117" fmla="*/ 615 h 690"/>
                <a:gd name="T118" fmla="*/ 295 w 1037"/>
                <a:gd name="T119" fmla="*/ 645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algn="ctr"/>
              <a:r>
                <a:rPr lang="de-DE" sz="300" dirty="0" smtClean="0">
                  <a:latin typeface="Andale Mono" charset="0"/>
                  <a:ea typeface="Andale Mono" charset="0"/>
                  <a:cs typeface="Andale Mono" charset="0"/>
                </a:rPr>
                <a:t>OMX</a:t>
              </a:r>
              <a:endParaRPr lang="de-DE" sz="3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61" name="Freeform 228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4443413" y="2319338"/>
              <a:ext cx="49212" cy="90487"/>
            </a:xfrm>
            <a:custGeom>
              <a:avLst/>
              <a:gdLst>
                <a:gd name="T0" fmla="*/ 120 w 120"/>
                <a:gd name="T1" fmla="*/ 99 h 173"/>
                <a:gd name="T2" fmla="*/ 92 w 120"/>
                <a:gd name="T3" fmla="*/ 60 h 173"/>
                <a:gd name="T4" fmla="*/ 70 w 120"/>
                <a:gd name="T5" fmla="*/ 28 h 173"/>
                <a:gd name="T6" fmla="*/ 60 w 120"/>
                <a:gd name="T7" fmla="*/ 16 h 173"/>
                <a:gd name="T8" fmla="*/ 53 w 120"/>
                <a:gd name="T9" fmla="*/ 8 h 173"/>
                <a:gd name="T10" fmla="*/ 48 w 120"/>
                <a:gd name="T11" fmla="*/ 4 h 173"/>
                <a:gd name="T12" fmla="*/ 45 w 120"/>
                <a:gd name="T13" fmla="*/ 2 h 173"/>
                <a:gd name="T14" fmla="*/ 43 w 120"/>
                <a:gd name="T15" fmla="*/ 1 h 173"/>
                <a:gd name="T16" fmla="*/ 39 w 120"/>
                <a:gd name="T17" fmla="*/ 0 h 173"/>
                <a:gd name="T18" fmla="*/ 33 w 120"/>
                <a:gd name="T19" fmla="*/ 0 h 173"/>
                <a:gd name="T20" fmla="*/ 27 w 120"/>
                <a:gd name="T21" fmla="*/ 1 h 173"/>
                <a:gd name="T22" fmla="*/ 24 w 120"/>
                <a:gd name="T23" fmla="*/ 3 h 173"/>
                <a:gd name="T24" fmla="*/ 21 w 120"/>
                <a:gd name="T25" fmla="*/ 5 h 173"/>
                <a:gd name="T26" fmla="*/ 19 w 120"/>
                <a:gd name="T27" fmla="*/ 8 h 173"/>
                <a:gd name="T28" fmla="*/ 16 w 120"/>
                <a:gd name="T29" fmla="*/ 12 h 173"/>
                <a:gd name="T30" fmla="*/ 15 w 120"/>
                <a:gd name="T31" fmla="*/ 15 h 173"/>
                <a:gd name="T32" fmla="*/ 15 w 120"/>
                <a:gd name="T33" fmla="*/ 20 h 173"/>
                <a:gd name="T34" fmla="*/ 14 w 120"/>
                <a:gd name="T35" fmla="*/ 30 h 173"/>
                <a:gd name="T36" fmla="*/ 12 w 120"/>
                <a:gd name="T37" fmla="*/ 42 h 173"/>
                <a:gd name="T38" fmla="*/ 10 w 120"/>
                <a:gd name="T39" fmla="*/ 48 h 173"/>
                <a:gd name="T40" fmla="*/ 8 w 120"/>
                <a:gd name="T41" fmla="*/ 54 h 173"/>
                <a:gd name="T42" fmla="*/ 4 w 120"/>
                <a:gd name="T43" fmla="*/ 61 h 173"/>
                <a:gd name="T44" fmla="*/ 0 w 120"/>
                <a:gd name="T45" fmla="*/ 68 h 173"/>
                <a:gd name="T46" fmla="*/ 5 w 120"/>
                <a:gd name="T47" fmla="*/ 82 h 173"/>
                <a:gd name="T48" fmla="*/ 10 w 120"/>
                <a:gd name="T49" fmla="*/ 99 h 173"/>
                <a:gd name="T50" fmla="*/ 15 w 120"/>
                <a:gd name="T51" fmla="*/ 115 h 173"/>
                <a:gd name="T52" fmla="*/ 20 w 120"/>
                <a:gd name="T53" fmla="*/ 129 h 173"/>
                <a:gd name="T54" fmla="*/ 24 w 120"/>
                <a:gd name="T55" fmla="*/ 134 h 173"/>
                <a:gd name="T56" fmla="*/ 30 w 120"/>
                <a:gd name="T57" fmla="*/ 139 h 173"/>
                <a:gd name="T58" fmla="*/ 37 w 120"/>
                <a:gd name="T59" fmla="*/ 145 h 173"/>
                <a:gd name="T60" fmla="*/ 46 w 120"/>
                <a:gd name="T61" fmla="*/ 151 h 173"/>
                <a:gd name="T62" fmla="*/ 54 w 120"/>
                <a:gd name="T63" fmla="*/ 157 h 173"/>
                <a:gd name="T64" fmla="*/ 60 w 120"/>
                <a:gd name="T65" fmla="*/ 163 h 173"/>
                <a:gd name="T66" fmla="*/ 62 w 120"/>
                <a:gd name="T67" fmla="*/ 165 h 173"/>
                <a:gd name="T68" fmla="*/ 65 w 120"/>
                <a:gd name="T69" fmla="*/ 168 h 173"/>
                <a:gd name="T70" fmla="*/ 66 w 120"/>
                <a:gd name="T71" fmla="*/ 170 h 173"/>
                <a:gd name="T72" fmla="*/ 67 w 120"/>
                <a:gd name="T73" fmla="*/ 173 h 173"/>
                <a:gd name="T74" fmla="*/ 76 w 120"/>
                <a:gd name="T75" fmla="*/ 167 h 173"/>
                <a:gd name="T76" fmla="*/ 86 w 120"/>
                <a:gd name="T77" fmla="*/ 160 h 173"/>
                <a:gd name="T78" fmla="*/ 93 w 120"/>
                <a:gd name="T79" fmla="*/ 152 h 173"/>
                <a:gd name="T80" fmla="*/ 101 w 120"/>
                <a:gd name="T81" fmla="*/ 142 h 173"/>
                <a:gd name="T82" fmla="*/ 106 w 120"/>
                <a:gd name="T83" fmla="*/ 132 h 173"/>
                <a:gd name="T84" fmla="*/ 112 w 120"/>
                <a:gd name="T85" fmla="*/ 121 h 173"/>
                <a:gd name="T86" fmla="*/ 116 w 120"/>
                <a:gd name="T87" fmla="*/ 110 h 173"/>
                <a:gd name="T88" fmla="*/ 120 w 120"/>
                <a:gd name="T89" fmla="*/ 99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62" name="Freeform 230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4089400" y="1978025"/>
              <a:ext cx="84138" cy="73025"/>
            </a:xfrm>
            <a:custGeom>
              <a:avLst/>
              <a:gdLst>
                <a:gd name="T0" fmla="*/ 0 w 186"/>
                <a:gd name="T1" fmla="*/ 112 h 142"/>
                <a:gd name="T2" fmla="*/ 2 w 186"/>
                <a:gd name="T3" fmla="*/ 116 h 142"/>
                <a:gd name="T4" fmla="*/ 3 w 186"/>
                <a:gd name="T5" fmla="*/ 107 h 142"/>
                <a:gd name="T6" fmla="*/ 3 w 186"/>
                <a:gd name="T7" fmla="*/ 93 h 142"/>
                <a:gd name="T8" fmla="*/ 9 w 186"/>
                <a:gd name="T9" fmla="*/ 82 h 142"/>
                <a:gd name="T10" fmla="*/ 17 w 186"/>
                <a:gd name="T11" fmla="*/ 69 h 142"/>
                <a:gd name="T12" fmla="*/ 20 w 186"/>
                <a:gd name="T13" fmla="*/ 56 h 142"/>
                <a:gd name="T14" fmla="*/ 23 w 186"/>
                <a:gd name="T15" fmla="*/ 46 h 142"/>
                <a:gd name="T16" fmla="*/ 28 w 186"/>
                <a:gd name="T17" fmla="*/ 37 h 142"/>
                <a:gd name="T18" fmla="*/ 35 w 186"/>
                <a:gd name="T19" fmla="*/ 32 h 142"/>
                <a:gd name="T20" fmla="*/ 41 w 186"/>
                <a:gd name="T21" fmla="*/ 38 h 142"/>
                <a:gd name="T22" fmla="*/ 43 w 186"/>
                <a:gd name="T23" fmla="*/ 49 h 142"/>
                <a:gd name="T24" fmla="*/ 47 w 186"/>
                <a:gd name="T25" fmla="*/ 58 h 142"/>
                <a:gd name="T26" fmla="*/ 55 w 186"/>
                <a:gd name="T27" fmla="*/ 65 h 142"/>
                <a:gd name="T28" fmla="*/ 87 w 186"/>
                <a:gd name="T29" fmla="*/ 67 h 142"/>
                <a:gd name="T30" fmla="*/ 79 w 186"/>
                <a:gd name="T31" fmla="*/ 41 h 142"/>
                <a:gd name="T32" fmla="*/ 69 w 186"/>
                <a:gd name="T33" fmla="*/ 36 h 142"/>
                <a:gd name="T34" fmla="*/ 63 w 186"/>
                <a:gd name="T35" fmla="*/ 30 h 142"/>
                <a:gd name="T36" fmla="*/ 61 w 186"/>
                <a:gd name="T37" fmla="*/ 23 h 142"/>
                <a:gd name="T38" fmla="*/ 70 w 186"/>
                <a:gd name="T39" fmla="*/ 17 h 142"/>
                <a:gd name="T40" fmla="*/ 87 w 186"/>
                <a:gd name="T41" fmla="*/ 14 h 142"/>
                <a:gd name="T42" fmla="*/ 98 w 186"/>
                <a:gd name="T43" fmla="*/ 10 h 142"/>
                <a:gd name="T44" fmla="*/ 111 w 186"/>
                <a:gd name="T45" fmla="*/ 6 h 142"/>
                <a:gd name="T46" fmla="*/ 130 w 186"/>
                <a:gd name="T47" fmla="*/ 3 h 142"/>
                <a:gd name="T48" fmla="*/ 147 w 186"/>
                <a:gd name="T49" fmla="*/ 1 h 142"/>
                <a:gd name="T50" fmla="*/ 159 w 186"/>
                <a:gd name="T51" fmla="*/ 2 h 142"/>
                <a:gd name="T52" fmla="*/ 176 w 186"/>
                <a:gd name="T53" fmla="*/ 1 h 142"/>
                <a:gd name="T54" fmla="*/ 183 w 186"/>
                <a:gd name="T55" fmla="*/ 10 h 142"/>
                <a:gd name="T56" fmla="*/ 178 w 186"/>
                <a:gd name="T57" fmla="*/ 26 h 142"/>
                <a:gd name="T58" fmla="*/ 169 w 186"/>
                <a:gd name="T59" fmla="*/ 40 h 142"/>
                <a:gd name="T60" fmla="*/ 159 w 186"/>
                <a:gd name="T61" fmla="*/ 51 h 142"/>
                <a:gd name="T62" fmla="*/ 155 w 186"/>
                <a:gd name="T63" fmla="*/ 63 h 142"/>
                <a:gd name="T64" fmla="*/ 153 w 186"/>
                <a:gd name="T65" fmla="*/ 76 h 142"/>
                <a:gd name="T66" fmla="*/ 120 w 186"/>
                <a:gd name="T67" fmla="*/ 142 h 142"/>
                <a:gd name="T68" fmla="*/ 80 w 186"/>
                <a:gd name="T69" fmla="*/ 122 h 142"/>
                <a:gd name="T70" fmla="*/ 35 w 186"/>
                <a:gd name="T71" fmla="*/ 117 h 142"/>
                <a:gd name="T72" fmla="*/ 8 w 186"/>
                <a:gd name="T73" fmla="*/ 113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63" name="Freeform 231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4070350" y="2041525"/>
              <a:ext cx="84138" cy="57150"/>
            </a:xfrm>
            <a:custGeom>
              <a:avLst/>
              <a:gdLst>
                <a:gd name="T0" fmla="*/ 192 w 192"/>
                <a:gd name="T1" fmla="*/ 61 h 105"/>
                <a:gd name="T2" fmla="*/ 189 w 192"/>
                <a:gd name="T3" fmla="*/ 62 h 105"/>
                <a:gd name="T4" fmla="*/ 184 w 192"/>
                <a:gd name="T5" fmla="*/ 63 h 105"/>
                <a:gd name="T6" fmla="*/ 180 w 192"/>
                <a:gd name="T7" fmla="*/ 64 h 105"/>
                <a:gd name="T8" fmla="*/ 177 w 192"/>
                <a:gd name="T9" fmla="*/ 67 h 105"/>
                <a:gd name="T10" fmla="*/ 168 w 192"/>
                <a:gd name="T11" fmla="*/ 72 h 105"/>
                <a:gd name="T12" fmla="*/ 160 w 192"/>
                <a:gd name="T13" fmla="*/ 79 h 105"/>
                <a:gd name="T14" fmla="*/ 154 w 192"/>
                <a:gd name="T15" fmla="*/ 86 h 105"/>
                <a:gd name="T16" fmla="*/ 147 w 192"/>
                <a:gd name="T17" fmla="*/ 93 h 105"/>
                <a:gd name="T18" fmla="*/ 143 w 192"/>
                <a:gd name="T19" fmla="*/ 99 h 105"/>
                <a:gd name="T20" fmla="*/ 139 w 192"/>
                <a:gd name="T21" fmla="*/ 105 h 105"/>
                <a:gd name="T22" fmla="*/ 120 w 192"/>
                <a:gd name="T23" fmla="*/ 97 h 105"/>
                <a:gd name="T24" fmla="*/ 102 w 192"/>
                <a:gd name="T25" fmla="*/ 89 h 105"/>
                <a:gd name="T26" fmla="*/ 86 w 192"/>
                <a:gd name="T27" fmla="*/ 80 h 105"/>
                <a:gd name="T28" fmla="*/ 69 w 192"/>
                <a:gd name="T29" fmla="*/ 71 h 105"/>
                <a:gd name="T30" fmla="*/ 53 w 192"/>
                <a:gd name="T31" fmla="*/ 61 h 105"/>
                <a:gd name="T32" fmla="*/ 36 w 192"/>
                <a:gd name="T33" fmla="*/ 53 h 105"/>
                <a:gd name="T34" fmla="*/ 19 w 192"/>
                <a:gd name="T35" fmla="*/ 44 h 105"/>
                <a:gd name="T36" fmla="*/ 0 w 192"/>
                <a:gd name="T37" fmla="*/ 37 h 105"/>
                <a:gd name="T38" fmla="*/ 0 w 192"/>
                <a:gd name="T39" fmla="*/ 13 h 105"/>
                <a:gd name="T40" fmla="*/ 7 w 192"/>
                <a:gd name="T41" fmla="*/ 7 h 105"/>
                <a:gd name="T42" fmla="*/ 16 w 192"/>
                <a:gd name="T43" fmla="*/ 4 h 105"/>
                <a:gd name="T44" fmla="*/ 29 w 192"/>
                <a:gd name="T45" fmla="*/ 1 h 105"/>
                <a:gd name="T46" fmla="*/ 40 w 192"/>
                <a:gd name="T47" fmla="*/ 0 h 105"/>
                <a:gd name="T48" fmla="*/ 60 w 192"/>
                <a:gd name="T49" fmla="*/ 2 h 105"/>
                <a:gd name="T50" fmla="*/ 93 w 192"/>
                <a:gd name="T51" fmla="*/ 5 h 105"/>
                <a:gd name="T52" fmla="*/ 111 w 192"/>
                <a:gd name="T53" fmla="*/ 7 h 105"/>
                <a:gd name="T54" fmla="*/ 128 w 192"/>
                <a:gd name="T55" fmla="*/ 7 h 105"/>
                <a:gd name="T56" fmla="*/ 143 w 192"/>
                <a:gd name="T57" fmla="*/ 7 h 105"/>
                <a:gd name="T58" fmla="*/ 153 w 192"/>
                <a:gd name="T59" fmla="*/ 6 h 105"/>
                <a:gd name="T60" fmla="*/ 155 w 192"/>
                <a:gd name="T61" fmla="*/ 11 h 105"/>
                <a:gd name="T62" fmla="*/ 159 w 192"/>
                <a:gd name="T63" fmla="*/ 17 h 105"/>
                <a:gd name="T64" fmla="*/ 161 w 192"/>
                <a:gd name="T65" fmla="*/ 20 h 105"/>
                <a:gd name="T66" fmla="*/ 164 w 192"/>
                <a:gd name="T67" fmla="*/ 23 h 105"/>
                <a:gd name="T68" fmla="*/ 165 w 192"/>
                <a:gd name="T69" fmla="*/ 27 h 105"/>
                <a:gd name="T70" fmla="*/ 166 w 192"/>
                <a:gd name="T71" fmla="*/ 31 h 105"/>
                <a:gd name="T72" fmla="*/ 170 w 192"/>
                <a:gd name="T73" fmla="*/ 32 h 105"/>
                <a:gd name="T74" fmla="*/ 177 w 192"/>
                <a:gd name="T75" fmla="*/ 33 h 105"/>
                <a:gd name="T76" fmla="*/ 180 w 192"/>
                <a:gd name="T77" fmla="*/ 34 h 105"/>
                <a:gd name="T78" fmla="*/ 183 w 192"/>
                <a:gd name="T79" fmla="*/ 34 h 105"/>
                <a:gd name="T80" fmla="*/ 188 w 192"/>
                <a:gd name="T81" fmla="*/ 33 h 105"/>
                <a:gd name="T82" fmla="*/ 192 w 192"/>
                <a:gd name="T83" fmla="*/ 31 h 105"/>
                <a:gd name="T84" fmla="*/ 192 w 192"/>
                <a:gd name="T85" fmla="*/ 6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64" name="Freeform 232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4830763" y="2595563"/>
              <a:ext cx="33337" cy="131762"/>
            </a:xfrm>
            <a:custGeom>
              <a:avLst/>
              <a:gdLst>
                <a:gd name="T0" fmla="*/ 33 w 80"/>
                <a:gd name="T1" fmla="*/ 0 h 254"/>
                <a:gd name="T2" fmla="*/ 37 w 80"/>
                <a:gd name="T3" fmla="*/ 2 h 254"/>
                <a:gd name="T4" fmla="*/ 40 w 80"/>
                <a:gd name="T5" fmla="*/ 4 h 254"/>
                <a:gd name="T6" fmla="*/ 43 w 80"/>
                <a:gd name="T7" fmla="*/ 7 h 254"/>
                <a:gd name="T8" fmla="*/ 46 w 80"/>
                <a:gd name="T9" fmla="*/ 10 h 254"/>
                <a:gd name="T10" fmla="*/ 52 w 80"/>
                <a:gd name="T11" fmla="*/ 18 h 254"/>
                <a:gd name="T12" fmla="*/ 56 w 80"/>
                <a:gd name="T13" fmla="*/ 25 h 254"/>
                <a:gd name="T14" fmla="*/ 62 w 80"/>
                <a:gd name="T15" fmla="*/ 32 h 254"/>
                <a:gd name="T16" fmla="*/ 67 w 80"/>
                <a:gd name="T17" fmla="*/ 38 h 254"/>
                <a:gd name="T18" fmla="*/ 70 w 80"/>
                <a:gd name="T19" fmla="*/ 40 h 254"/>
                <a:gd name="T20" fmla="*/ 73 w 80"/>
                <a:gd name="T21" fmla="*/ 42 h 254"/>
                <a:gd name="T22" fmla="*/ 76 w 80"/>
                <a:gd name="T23" fmla="*/ 43 h 254"/>
                <a:gd name="T24" fmla="*/ 80 w 80"/>
                <a:gd name="T25" fmla="*/ 44 h 254"/>
                <a:gd name="T26" fmla="*/ 80 w 80"/>
                <a:gd name="T27" fmla="*/ 53 h 254"/>
                <a:gd name="T28" fmla="*/ 80 w 80"/>
                <a:gd name="T29" fmla="*/ 62 h 254"/>
                <a:gd name="T30" fmla="*/ 53 w 80"/>
                <a:gd name="T31" fmla="*/ 254 h 254"/>
                <a:gd name="T32" fmla="*/ 0 w 80"/>
                <a:gd name="T33" fmla="*/ 93 h 254"/>
                <a:gd name="T34" fmla="*/ 4 w 80"/>
                <a:gd name="T35" fmla="*/ 88 h 254"/>
                <a:gd name="T36" fmla="*/ 11 w 80"/>
                <a:gd name="T37" fmla="*/ 71 h 254"/>
                <a:gd name="T38" fmla="*/ 17 w 80"/>
                <a:gd name="T39" fmla="*/ 57 h 254"/>
                <a:gd name="T40" fmla="*/ 22 w 80"/>
                <a:gd name="T41" fmla="*/ 41 h 254"/>
                <a:gd name="T42" fmla="*/ 28 w 80"/>
                <a:gd name="T43" fmla="*/ 23 h 254"/>
                <a:gd name="T44" fmla="*/ 33 w 80"/>
                <a:gd name="T45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65" name="Freeform 233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4779963" y="2647950"/>
              <a:ext cx="69850" cy="130175"/>
            </a:xfrm>
            <a:custGeom>
              <a:avLst/>
              <a:gdLst>
                <a:gd name="T0" fmla="*/ 114 w 167"/>
                <a:gd name="T1" fmla="*/ 0 h 259"/>
                <a:gd name="T2" fmla="*/ 167 w 167"/>
                <a:gd name="T3" fmla="*/ 155 h 259"/>
                <a:gd name="T4" fmla="*/ 121 w 167"/>
                <a:gd name="T5" fmla="*/ 259 h 259"/>
                <a:gd name="T6" fmla="*/ 113 w 167"/>
                <a:gd name="T7" fmla="*/ 259 h 259"/>
                <a:gd name="T8" fmla="*/ 107 w 167"/>
                <a:gd name="T9" fmla="*/ 257 h 259"/>
                <a:gd name="T10" fmla="*/ 100 w 167"/>
                <a:gd name="T11" fmla="*/ 254 h 259"/>
                <a:gd name="T12" fmla="*/ 95 w 167"/>
                <a:gd name="T13" fmla="*/ 251 h 259"/>
                <a:gd name="T14" fmla="*/ 89 w 167"/>
                <a:gd name="T15" fmla="*/ 245 h 259"/>
                <a:gd name="T16" fmla="*/ 85 w 167"/>
                <a:gd name="T17" fmla="*/ 240 h 259"/>
                <a:gd name="T18" fmla="*/ 80 w 167"/>
                <a:gd name="T19" fmla="*/ 235 h 259"/>
                <a:gd name="T20" fmla="*/ 76 w 167"/>
                <a:gd name="T21" fmla="*/ 229 h 259"/>
                <a:gd name="T22" fmla="*/ 69 w 167"/>
                <a:gd name="T23" fmla="*/ 217 h 259"/>
                <a:gd name="T24" fmla="*/ 65 w 167"/>
                <a:gd name="T25" fmla="*/ 205 h 259"/>
                <a:gd name="T26" fmla="*/ 62 w 167"/>
                <a:gd name="T27" fmla="*/ 194 h 259"/>
                <a:gd name="T28" fmla="*/ 62 w 167"/>
                <a:gd name="T29" fmla="*/ 185 h 259"/>
                <a:gd name="T30" fmla="*/ 55 w 167"/>
                <a:gd name="T31" fmla="*/ 184 h 259"/>
                <a:gd name="T32" fmla="*/ 51 w 167"/>
                <a:gd name="T33" fmla="*/ 183 h 259"/>
                <a:gd name="T34" fmla="*/ 45 w 167"/>
                <a:gd name="T35" fmla="*/ 182 h 259"/>
                <a:gd name="T36" fmla="*/ 42 w 167"/>
                <a:gd name="T37" fmla="*/ 180 h 259"/>
                <a:gd name="T38" fmla="*/ 39 w 167"/>
                <a:gd name="T39" fmla="*/ 177 h 259"/>
                <a:gd name="T40" fmla="*/ 36 w 167"/>
                <a:gd name="T41" fmla="*/ 174 h 259"/>
                <a:gd name="T42" fmla="*/ 34 w 167"/>
                <a:gd name="T43" fmla="*/ 170 h 259"/>
                <a:gd name="T44" fmla="*/ 32 w 167"/>
                <a:gd name="T45" fmla="*/ 167 h 259"/>
                <a:gd name="T46" fmla="*/ 30 w 167"/>
                <a:gd name="T47" fmla="*/ 158 h 259"/>
                <a:gd name="T48" fmla="*/ 29 w 167"/>
                <a:gd name="T49" fmla="*/ 149 h 259"/>
                <a:gd name="T50" fmla="*/ 28 w 167"/>
                <a:gd name="T51" fmla="*/ 140 h 259"/>
                <a:gd name="T52" fmla="*/ 28 w 167"/>
                <a:gd name="T53" fmla="*/ 129 h 259"/>
                <a:gd name="T54" fmla="*/ 21 w 167"/>
                <a:gd name="T55" fmla="*/ 129 h 259"/>
                <a:gd name="T56" fmla="*/ 16 w 167"/>
                <a:gd name="T57" fmla="*/ 127 h 259"/>
                <a:gd name="T58" fmla="*/ 11 w 167"/>
                <a:gd name="T59" fmla="*/ 125 h 259"/>
                <a:gd name="T60" fmla="*/ 7 w 167"/>
                <a:gd name="T61" fmla="*/ 121 h 259"/>
                <a:gd name="T62" fmla="*/ 5 w 167"/>
                <a:gd name="T63" fmla="*/ 117 h 259"/>
                <a:gd name="T64" fmla="*/ 2 w 167"/>
                <a:gd name="T65" fmla="*/ 112 h 259"/>
                <a:gd name="T66" fmla="*/ 0 w 167"/>
                <a:gd name="T67" fmla="*/ 107 h 259"/>
                <a:gd name="T68" fmla="*/ 0 w 167"/>
                <a:gd name="T69" fmla="*/ 101 h 259"/>
                <a:gd name="T70" fmla="*/ 0 w 167"/>
                <a:gd name="T71" fmla="*/ 75 h 259"/>
                <a:gd name="T72" fmla="*/ 1 w 167"/>
                <a:gd name="T73" fmla="*/ 50 h 259"/>
                <a:gd name="T74" fmla="*/ 12 w 167"/>
                <a:gd name="T75" fmla="*/ 52 h 259"/>
                <a:gd name="T76" fmla="*/ 22 w 167"/>
                <a:gd name="T77" fmla="*/ 53 h 259"/>
                <a:gd name="T78" fmla="*/ 32 w 167"/>
                <a:gd name="T79" fmla="*/ 53 h 259"/>
                <a:gd name="T80" fmla="*/ 42 w 167"/>
                <a:gd name="T81" fmla="*/ 52 h 259"/>
                <a:gd name="T82" fmla="*/ 50 w 167"/>
                <a:gd name="T83" fmla="*/ 51 h 259"/>
                <a:gd name="T84" fmla="*/ 58 w 167"/>
                <a:gd name="T85" fmla="*/ 49 h 259"/>
                <a:gd name="T86" fmla="*/ 66 w 167"/>
                <a:gd name="T87" fmla="*/ 47 h 259"/>
                <a:gd name="T88" fmla="*/ 73 w 167"/>
                <a:gd name="T89" fmla="*/ 44 h 259"/>
                <a:gd name="T90" fmla="*/ 79 w 167"/>
                <a:gd name="T91" fmla="*/ 40 h 259"/>
                <a:gd name="T92" fmla="*/ 86 w 167"/>
                <a:gd name="T93" fmla="*/ 36 h 259"/>
                <a:gd name="T94" fmla="*/ 91 w 167"/>
                <a:gd name="T95" fmla="*/ 31 h 259"/>
                <a:gd name="T96" fmla="*/ 97 w 167"/>
                <a:gd name="T97" fmla="*/ 26 h 259"/>
                <a:gd name="T98" fmla="*/ 107 w 167"/>
                <a:gd name="T99" fmla="*/ 13 h 259"/>
                <a:gd name="T100" fmla="*/ 114 w 167"/>
                <a:gd name="T101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66" name="Freeform 234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3781425" y="1901825"/>
              <a:ext cx="96838" cy="144463"/>
            </a:xfrm>
            <a:custGeom>
              <a:avLst/>
              <a:gdLst>
                <a:gd name="T0" fmla="*/ 185 w 225"/>
                <a:gd name="T1" fmla="*/ 67 h 273"/>
                <a:gd name="T2" fmla="*/ 173 w 225"/>
                <a:gd name="T3" fmla="*/ 78 h 273"/>
                <a:gd name="T4" fmla="*/ 159 w 225"/>
                <a:gd name="T5" fmla="*/ 82 h 273"/>
                <a:gd name="T6" fmla="*/ 163 w 225"/>
                <a:gd name="T7" fmla="*/ 93 h 273"/>
                <a:gd name="T8" fmla="*/ 174 w 225"/>
                <a:gd name="T9" fmla="*/ 101 h 273"/>
                <a:gd name="T10" fmla="*/ 195 w 225"/>
                <a:gd name="T11" fmla="*/ 105 h 273"/>
                <a:gd name="T12" fmla="*/ 225 w 225"/>
                <a:gd name="T13" fmla="*/ 106 h 273"/>
                <a:gd name="T14" fmla="*/ 225 w 225"/>
                <a:gd name="T15" fmla="*/ 152 h 273"/>
                <a:gd name="T16" fmla="*/ 224 w 225"/>
                <a:gd name="T17" fmla="*/ 176 h 273"/>
                <a:gd name="T18" fmla="*/ 215 w 225"/>
                <a:gd name="T19" fmla="*/ 187 h 273"/>
                <a:gd name="T20" fmla="*/ 197 w 225"/>
                <a:gd name="T21" fmla="*/ 205 h 273"/>
                <a:gd name="T22" fmla="*/ 192 w 225"/>
                <a:gd name="T23" fmla="*/ 214 h 273"/>
                <a:gd name="T24" fmla="*/ 179 w 225"/>
                <a:gd name="T25" fmla="*/ 218 h 273"/>
                <a:gd name="T26" fmla="*/ 164 w 225"/>
                <a:gd name="T27" fmla="*/ 225 h 273"/>
                <a:gd name="T28" fmla="*/ 159 w 225"/>
                <a:gd name="T29" fmla="*/ 236 h 273"/>
                <a:gd name="T30" fmla="*/ 140 w 225"/>
                <a:gd name="T31" fmla="*/ 242 h 273"/>
                <a:gd name="T32" fmla="*/ 128 w 225"/>
                <a:gd name="T33" fmla="*/ 252 h 273"/>
                <a:gd name="T34" fmla="*/ 101 w 225"/>
                <a:gd name="T35" fmla="*/ 255 h 273"/>
                <a:gd name="T36" fmla="*/ 60 w 225"/>
                <a:gd name="T37" fmla="*/ 261 h 273"/>
                <a:gd name="T38" fmla="*/ 19 w 225"/>
                <a:gd name="T39" fmla="*/ 261 h 273"/>
                <a:gd name="T40" fmla="*/ 0 w 225"/>
                <a:gd name="T41" fmla="*/ 217 h 273"/>
                <a:gd name="T42" fmla="*/ 21 w 225"/>
                <a:gd name="T43" fmla="*/ 212 h 273"/>
                <a:gd name="T44" fmla="*/ 26 w 225"/>
                <a:gd name="T45" fmla="*/ 205 h 273"/>
                <a:gd name="T46" fmla="*/ 60 w 225"/>
                <a:gd name="T47" fmla="*/ 202 h 273"/>
                <a:gd name="T48" fmla="*/ 72 w 225"/>
                <a:gd name="T49" fmla="*/ 193 h 273"/>
                <a:gd name="T50" fmla="*/ 48 w 225"/>
                <a:gd name="T51" fmla="*/ 198 h 273"/>
                <a:gd name="T52" fmla="*/ 40 w 225"/>
                <a:gd name="T53" fmla="*/ 197 h 273"/>
                <a:gd name="T54" fmla="*/ 39 w 225"/>
                <a:gd name="T55" fmla="*/ 188 h 273"/>
                <a:gd name="T56" fmla="*/ 46 w 225"/>
                <a:gd name="T57" fmla="*/ 173 h 273"/>
                <a:gd name="T58" fmla="*/ 39 w 225"/>
                <a:gd name="T59" fmla="*/ 160 h 273"/>
                <a:gd name="T60" fmla="*/ 14 w 225"/>
                <a:gd name="T61" fmla="*/ 150 h 273"/>
                <a:gd name="T62" fmla="*/ 6 w 225"/>
                <a:gd name="T63" fmla="*/ 130 h 273"/>
                <a:gd name="T64" fmla="*/ 22 w 225"/>
                <a:gd name="T65" fmla="*/ 115 h 273"/>
                <a:gd name="T66" fmla="*/ 35 w 225"/>
                <a:gd name="T67" fmla="*/ 102 h 273"/>
                <a:gd name="T68" fmla="*/ 68 w 225"/>
                <a:gd name="T69" fmla="*/ 94 h 273"/>
                <a:gd name="T70" fmla="*/ 90 w 225"/>
                <a:gd name="T71" fmla="*/ 94 h 273"/>
                <a:gd name="T72" fmla="*/ 100 w 225"/>
                <a:gd name="T73" fmla="*/ 88 h 273"/>
                <a:gd name="T74" fmla="*/ 108 w 225"/>
                <a:gd name="T75" fmla="*/ 52 h 273"/>
                <a:gd name="T76" fmla="*/ 120 w 225"/>
                <a:gd name="T77" fmla="*/ 31 h 273"/>
                <a:gd name="T78" fmla="*/ 130 w 225"/>
                <a:gd name="T79" fmla="*/ 20 h 273"/>
                <a:gd name="T80" fmla="*/ 141 w 225"/>
                <a:gd name="T81" fmla="*/ 7 h 273"/>
                <a:gd name="T82" fmla="*/ 155 w 225"/>
                <a:gd name="T83" fmla="*/ 1 h 273"/>
                <a:gd name="T84" fmla="*/ 179 w 225"/>
                <a:gd name="T85" fmla="*/ 3 h 273"/>
                <a:gd name="T86" fmla="*/ 195 w 225"/>
                <a:gd name="T87" fmla="*/ 38 h 273"/>
                <a:gd name="T88" fmla="*/ 196 w 225"/>
                <a:gd name="T89" fmla="*/ 47 h 273"/>
                <a:gd name="T90" fmla="*/ 190 w 225"/>
                <a:gd name="T91" fmla="*/ 56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67" name="Freeform 235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3594100" y="2813050"/>
              <a:ext cx="306388" cy="390525"/>
            </a:xfrm>
            <a:custGeom>
              <a:avLst/>
              <a:gdLst>
                <a:gd name="T0" fmla="*/ 94 w 232"/>
                <a:gd name="T1" fmla="*/ 246 h 248"/>
                <a:gd name="T2" fmla="*/ 96 w 232"/>
                <a:gd name="T3" fmla="*/ 243 h 248"/>
                <a:gd name="T4" fmla="*/ 98 w 232"/>
                <a:gd name="T5" fmla="*/ 238 h 248"/>
                <a:gd name="T6" fmla="*/ 100 w 232"/>
                <a:gd name="T7" fmla="*/ 232 h 248"/>
                <a:gd name="T8" fmla="*/ 103 w 232"/>
                <a:gd name="T9" fmla="*/ 231 h 248"/>
                <a:gd name="T10" fmla="*/ 104 w 232"/>
                <a:gd name="T11" fmla="*/ 238 h 248"/>
                <a:gd name="T12" fmla="*/ 106 w 232"/>
                <a:gd name="T13" fmla="*/ 241 h 248"/>
                <a:gd name="T14" fmla="*/ 108 w 232"/>
                <a:gd name="T15" fmla="*/ 242 h 248"/>
                <a:gd name="T16" fmla="*/ 110 w 232"/>
                <a:gd name="T17" fmla="*/ 242 h 248"/>
                <a:gd name="T18" fmla="*/ 113 w 232"/>
                <a:gd name="T19" fmla="*/ 241 h 248"/>
                <a:gd name="T20" fmla="*/ 116 w 232"/>
                <a:gd name="T21" fmla="*/ 238 h 248"/>
                <a:gd name="T22" fmla="*/ 216 w 232"/>
                <a:gd name="T23" fmla="*/ 234 h 248"/>
                <a:gd name="T24" fmla="*/ 213 w 232"/>
                <a:gd name="T25" fmla="*/ 204 h 248"/>
                <a:gd name="T26" fmla="*/ 207 w 232"/>
                <a:gd name="T27" fmla="*/ 138 h 248"/>
                <a:gd name="T28" fmla="*/ 201 w 232"/>
                <a:gd name="T29" fmla="*/ 73 h 248"/>
                <a:gd name="T30" fmla="*/ 198 w 232"/>
                <a:gd name="T31" fmla="*/ 43 h 248"/>
                <a:gd name="T32" fmla="*/ 215 w 232"/>
                <a:gd name="T33" fmla="*/ 44 h 248"/>
                <a:gd name="T34" fmla="*/ 232 w 232"/>
                <a:gd name="T35" fmla="*/ 46 h 248"/>
                <a:gd name="T36" fmla="*/ 161 w 232"/>
                <a:gd name="T37" fmla="*/ 2 h 248"/>
                <a:gd name="T38" fmla="*/ 160 w 232"/>
                <a:gd name="T39" fmla="*/ 8 h 248"/>
                <a:gd name="T40" fmla="*/ 161 w 232"/>
                <a:gd name="T41" fmla="*/ 18 h 248"/>
                <a:gd name="T42" fmla="*/ 98 w 232"/>
                <a:gd name="T43" fmla="*/ 24 h 248"/>
                <a:gd name="T44" fmla="*/ 98 w 232"/>
                <a:gd name="T45" fmla="*/ 74 h 248"/>
                <a:gd name="T46" fmla="*/ 95 w 232"/>
                <a:gd name="T47" fmla="*/ 76 h 248"/>
                <a:gd name="T48" fmla="*/ 87 w 232"/>
                <a:gd name="T49" fmla="*/ 78 h 248"/>
                <a:gd name="T50" fmla="*/ 72 w 232"/>
                <a:gd name="T51" fmla="*/ 82 h 248"/>
                <a:gd name="T52" fmla="*/ 74 w 232"/>
                <a:gd name="T53" fmla="*/ 88 h 248"/>
                <a:gd name="T54" fmla="*/ 78 w 232"/>
                <a:gd name="T55" fmla="*/ 96 h 248"/>
                <a:gd name="T56" fmla="*/ 80 w 232"/>
                <a:gd name="T57" fmla="*/ 105 h 248"/>
                <a:gd name="T58" fmla="*/ 81 w 232"/>
                <a:gd name="T59" fmla="*/ 115 h 248"/>
                <a:gd name="T60" fmla="*/ 9 w 232"/>
                <a:gd name="T61" fmla="*/ 119 h 248"/>
                <a:gd name="T62" fmla="*/ 5 w 232"/>
                <a:gd name="T63" fmla="*/ 130 h 248"/>
                <a:gd name="T64" fmla="*/ 6 w 232"/>
                <a:gd name="T65" fmla="*/ 143 h 248"/>
                <a:gd name="T66" fmla="*/ 8 w 232"/>
                <a:gd name="T67" fmla="*/ 155 h 248"/>
                <a:gd name="T68" fmla="*/ 9 w 232"/>
                <a:gd name="T69" fmla="*/ 168 h 248"/>
                <a:gd name="T70" fmla="*/ 9 w 232"/>
                <a:gd name="T71" fmla="*/ 182 h 248"/>
                <a:gd name="T72" fmla="*/ 8 w 232"/>
                <a:gd name="T73" fmla="*/ 194 h 248"/>
                <a:gd name="T74" fmla="*/ 6 w 232"/>
                <a:gd name="T75" fmla="*/ 206 h 248"/>
                <a:gd name="T76" fmla="*/ 2 w 232"/>
                <a:gd name="T77" fmla="*/ 216 h 248"/>
                <a:gd name="T78" fmla="*/ 2 w 232"/>
                <a:gd name="T79" fmla="*/ 219 h 248"/>
                <a:gd name="T80" fmla="*/ 3 w 232"/>
                <a:gd name="T81" fmla="*/ 220 h 248"/>
                <a:gd name="T82" fmla="*/ 3 w 232"/>
                <a:gd name="T83" fmla="*/ 222 h 248"/>
                <a:gd name="T84" fmla="*/ 7 w 232"/>
                <a:gd name="T85" fmla="*/ 217 h 248"/>
                <a:gd name="T86" fmla="*/ 18 w 232"/>
                <a:gd name="T87" fmla="*/ 213 h 248"/>
                <a:gd name="T88" fmla="*/ 36 w 232"/>
                <a:gd name="T89" fmla="*/ 207 h 248"/>
                <a:gd name="T90" fmla="*/ 45 w 232"/>
                <a:gd name="T91" fmla="*/ 208 h 248"/>
                <a:gd name="T92" fmla="*/ 51 w 232"/>
                <a:gd name="T93" fmla="*/ 212 h 248"/>
                <a:gd name="T94" fmla="*/ 56 w 232"/>
                <a:gd name="T95" fmla="*/ 214 h 248"/>
                <a:gd name="T96" fmla="*/ 62 w 232"/>
                <a:gd name="T97" fmla="*/ 215 h 248"/>
                <a:gd name="T98" fmla="*/ 66 w 232"/>
                <a:gd name="T99" fmla="*/ 219 h 248"/>
                <a:gd name="T100" fmla="*/ 67 w 232"/>
                <a:gd name="T101" fmla="*/ 225 h 248"/>
                <a:gd name="T102" fmla="*/ 70 w 232"/>
                <a:gd name="T103" fmla="*/ 231 h 248"/>
                <a:gd name="T104" fmla="*/ 74 w 232"/>
                <a:gd name="T105" fmla="*/ 235 h 248"/>
                <a:gd name="T106" fmla="*/ 85 w 232"/>
                <a:gd name="T107" fmla="*/ 243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68" name="Freeform 236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3709988" y="2873375"/>
              <a:ext cx="414337" cy="468313"/>
            </a:xfrm>
            <a:custGeom>
              <a:avLst/>
              <a:gdLst>
                <a:gd name="T0" fmla="*/ 90 w 948"/>
                <a:gd name="T1" fmla="*/ 788 h 893"/>
                <a:gd name="T2" fmla="*/ 121 w 948"/>
                <a:gd name="T3" fmla="*/ 788 h 893"/>
                <a:gd name="T4" fmla="*/ 146 w 948"/>
                <a:gd name="T5" fmla="*/ 783 h 893"/>
                <a:gd name="T6" fmla="*/ 186 w 948"/>
                <a:gd name="T7" fmla="*/ 776 h 893"/>
                <a:gd name="T8" fmla="*/ 197 w 948"/>
                <a:gd name="T9" fmla="*/ 813 h 893"/>
                <a:gd name="T10" fmla="*/ 212 w 948"/>
                <a:gd name="T11" fmla="*/ 835 h 893"/>
                <a:gd name="T12" fmla="*/ 226 w 948"/>
                <a:gd name="T13" fmla="*/ 846 h 893"/>
                <a:gd name="T14" fmla="*/ 246 w 948"/>
                <a:gd name="T15" fmla="*/ 850 h 893"/>
                <a:gd name="T16" fmla="*/ 246 w 948"/>
                <a:gd name="T17" fmla="*/ 881 h 893"/>
                <a:gd name="T18" fmla="*/ 326 w 948"/>
                <a:gd name="T19" fmla="*/ 889 h 893"/>
                <a:gd name="T20" fmla="*/ 334 w 948"/>
                <a:gd name="T21" fmla="*/ 876 h 893"/>
                <a:gd name="T22" fmla="*/ 347 w 948"/>
                <a:gd name="T23" fmla="*/ 871 h 893"/>
                <a:gd name="T24" fmla="*/ 348 w 948"/>
                <a:gd name="T25" fmla="*/ 888 h 893"/>
                <a:gd name="T26" fmla="*/ 358 w 948"/>
                <a:gd name="T27" fmla="*/ 893 h 893"/>
                <a:gd name="T28" fmla="*/ 385 w 948"/>
                <a:gd name="T29" fmla="*/ 893 h 893"/>
                <a:gd name="T30" fmla="*/ 401 w 948"/>
                <a:gd name="T31" fmla="*/ 854 h 893"/>
                <a:gd name="T32" fmla="*/ 412 w 948"/>
                <a:gd name="T33" fmla="*/ 788 h 893"/>
                <a:gd name="T34" fmla="*/ 424 w 948"/>
                <a:gd name="T35" fmla="*/ 771 h 893"/>
                <a:gd name="T36" fmla="*/ 452 w 948"/>
                <a:gd name="T37" fmla="*/ 754 h 893"/>
                <a:gd name="T38" fmla="*/ 485 w 948"/>
                <a:gd name="T39" fmla="*/ 743 h 893"/>
                <a:gd name="T40" fmla="*/ 501 w 948"/>
                <a:gd name="T41" fmla="*/ 729 h 893"/>
                <a:gd name="T42" fmla="*/ 515 w 948"/>
                <a:gd name="T43" fmla="*/ 702 h 893"/>
                <a:gd name="T44" fmla="*/ 535 w 948"/>
                <a:gd name="T45" fmla="*/ 668 h 893"/>
                <a:gd name="T46" fmla="*/ 547 w 948"/>
                <a:gd name="T47" fmla="*/ 660 h 893"/>
                <a:gd name="T48" fmla="*/ 572 w 948"/>
                <a:gd name="T49" fmla="*/ 659 h 893"/>
                <a:gd name="T50" fmla="*/ 605 w 948"/>
                <a:gd name="T51" fmla="*/ 644 h 893"/>
                <a:gd name="T52" fmla="*/ 639 w 948"/>
                <a:gd name="T53" fmla="*/ 624 h 893"/>
                <a:gd name="T54" fmla="*/ 674 w 948"/>
                <a:gd name="T55" fmla="*/ 613 h 893"/>
                <a:gd name="T56" fmla="*/ 724 w 948"/>
                <a:gd name="T57" fmla="*/ 610 h 893"/>
                <a:gd name="T58" fmla="*/ 788 w 948"/>
                <a:gd name="T59" fmla="*/ 602 h 893"/>
                <a:gd name="T60" fmla="*/ 815 w 948"/>
                <a:gd name="T61" fmla="*/ 594 h 893"/>
                <a:gd name="T62" fmla="*/ 863 w 948"/>
                <a:gd name="T63" fmla="*/ 590 h 893"/>
                <a:gd name="T64" fmla="*/ 901 w 948"/>
                <a:gd name="T65" fmla="*/ 583 h 893"/>
                <a:gd name="T66" fmla="*/ 913 w 948"/>
                <a:gd name="T67" fmla="*/ 574 h 893"/>
                <a:gd name="T68" fmla="*/ 931 w 948"/>
                <a:gd name="T69" fmla="*/ 544 h 893"/>
                <a:gd name="T70" fmla="*/ 943 w 948"/>
                <a:gd name="T71" fmla="*/ 504 h 893"/>
                <a:gd name="T72" fmla="*/ 948 w 948"/>
                <a:gd name="T73" fmla="*/ 461 h 893"/>
                <a:gd name="T74" fmla="*/ 947 w 948"/>
                <a:gd name="T75" fmla="*/ 421 h 893"/>
                <a:gd name="T76" fmla="*/ 943 w 948"/>
                <a:gd name="T77" fmla="*/ 363 h 893"/>
                <a:gd name="T78" fmla="*/ 922 w 948"/>
                <a:gd name="T79" fmla="*/ 356 h 893"/>
                <a:gd name="T80" fmla="*/ 862 w 948"/>
                <a:gd name="T81" fmla="*/ 322 h 893"/>
                <a:gd name="T82" fmla="*/ 794 w 948"/>
                <a:gd name="T83" fmla="*/ 278 h 893"/>
                <a:gd name="T84" fmla="*/ 738 w 948"/>
                <a:gd name="T85" fmla="*/ 216 h 893"/>
                <a:gd name="T86" fmla="*/ 412 w 948"/>
                <a:gd name="T87" fmla="*/ 12 h 893"/>
                <a:gd name="T88" fmla="*/ 348 w 948"/>
                <a:gd name="T89" fmla="*/ 102 h 893"/>
                <a:gd name="T90" fmla="*/ 379 w 948"/>
                <a:gd name="T91" fmla="*/ 405 h 893"/>
                <a:gd name="T92" fmla="*/ 392 w 948"/>
                <a:gd name="T93" fmla="*/ 565 h 893"/>
                <a:gd name="T94" fmla="*/ 93 w 948"/>
                <a:gd name="T95" fmla="*/ 591 h 893"/>
                <a:gd name="T96" fmla="*/ 79 w 948"/>
                <a:gd name="T97" fmla="*/ 606 h 893"/>
                <a:gd name="T98" fmla="*/ 67 w 948"/>
                <a:gd name="T99" fmla="*/ 610 h 893"/>
                <a:gd name="T100" fmla="*/ 57 w 948"/>
                <a:gd name="T101" fmla="*/ 607 h 893"/>
                <a:gd name="T102" fmla="*/ 49 w 948"/>
                <a:gd name="T103" fmla="*/ 591 h 893"/>
                <a:gd name="T104" fmla="*/ 40 w 948"/>
                <a:gd name="T105" fmla="*/ 581 h 893"/>
                <a:gd name="T106" fmla="*/ 29 w 948"/>
                <a:gd name="T107" fmla="*/ 605 h 893"/>
                <a:gd name="T108" fmla="*/ 15 w 948"/>
                <a:gd name="T109" fmla="*/ 623 h 893"/>
                <a:gd name="T110" fmla="*/ 67 w 948"/>
                <a:gd name="T111" fmla="*/ 733 h 893"/>
                <a:gd name="T112" fmla="*/ 61 w 948"/>
                <a:gd name="T113" fmla="*/ 748 h 893"/>
                <a:gd name="T114" fmla="*/ 62 w 948"/>
                <a:gd name="T115" fmla="*/ 760 h 893"/>
                <a:gd name="T116" fmla="*/ 54 w 948"/>
                <a:gd name="T117" fmla="*/ 788 h 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69" name="Freeform 237"/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3808413" y="2479675"/>
              <a:ext cx="493712" cy="579438"/>
            </a:xfrm>
            <a:custGeom>
              <a:avLst/>
              <a:gdLst>
                <a:gd name="T0" fmla="*/ 238 w 373"/>
                <a:gd name="T1" fmla="*/ 367 h 370"/>
                <a:gd name="T2" fmla="*/ 244 w 373"/>
                <a:gd name="T3" fmla="*/ 365 h 370"/>
                <a:gd name="T4" fmla="*/ 255 w 373"/>
                <a:gd name="T5" fmla="*/ 368 h 370"/>
                <a:gd name="T6" fmla="*/ 372 w 373"/>
                <a:gd name="T7" fmla="*/ 277 h 370"/>
                <a:gd name="T8" fmla="*/ 369 w 373"/>
                <a:gd name="T9" fmla="*/ 270 h 370"/>
                <a:gd name="T10" fmla="*/ 361 w 373"/>
                <a:gd name="T11" fmla="*/ 264 h 370"/>
                <a:gd name="T12" fmla="*/ 347 w 373"/>
                <a:gd name="T13" fmla="*/ 259 h 370"/>
                <a:gd name="T14" fmla="*/ 339 w 373"/>
                <a:gd name="T15" fmla="*/ 254 h 370"/>
                <a:gd name="T16" fmla="*/ 336 w 373"/>
                <a:gd name="T17" fmla="*/ 247 h 370"/>
                <a:gd name="T18" fmla="*/ 337 w 373"/>
                <a:gd name="T19" fmla="*/ 228 h 370"/>
                <a:gd name="T20" fmla="*/ 337 w 373"/>
                <a:gd name="T21" fmla="*/ 196 h 370"/>
                <a:gd name="T22" fmla="*/ 334 w 373"/>
                <a:gd name="T23" fmla="*/ 168 h 370"/>
                <a:gd name="T24" fmla="*/ 329 w 373"/>
                <a:gd name="T25" fmla="*/ 155 h 370"/>
                <a:gd name="T26" fmla="*/ 323 w 373"/>
                <a:gd name="T27" fmla="*/ 142 h 370"/>
                <a:gd name="T28" fmla="*/ 315 w 373"/>
                <a:gd name="T29" fmla="*/ 109 h 370"/>
                <a:gd name="T30" fmla="*/ 306 w 373"/>
                <a:gd name="T31" fmla="*/ 90 h 370"/>
                <a:gd name="T32" fmla="*/ 297 w 373"/>
                <a:gd name="T33" fmla="*/ 78 h 370"/>
                <a:gd name="T34" fmla="*/ 300 w 373"/>
                <a:gd name="T35" fmla="*/ 63 h 370"/>
                <a:gd name="T36" fmla="*/ 301 w 373"/>
                <a:gd name="T37" fmla="*/ 43 h 370"/>
                <a:gd name="T38" fmla="*/ 302 w 373"/>
                <a:gd name="T39" fmla="*/ 23 h 370"/>
                <a:gd name="T40" fmla="*/ 310 w 373"/>
                <a:gd name="T41" fmla="*/ 7 h 370"/>
                <a:gd name="T42" fmla="*/ 302 w 373"/>
                <a:gd name="T43" fmla="*/ 6 h 370"/>
                <a:gd name="T44" fmla="*/ 278 w 373"/>
                <a:gd name="T45" fmla="*/ 12 h 370"/>
                <a:gd name="T46" fmla="*/ 245 w 373"/>
                <a:gd name="T47" fmla="*/ 12 h 370"/>
                <a:gd name="T48" fmla="*/ 206 w 373"/>
                <a:gd name="T49" fmla="*/ 14 h 370"/>
                <a:gd name="T50" fmla="*/ 168 w 373"/>
                <a:gd name="T51" fmla="*/ 24 h 370"/>
                <a:gd name="T52" fmla="*/ 145 w 373"/>
                <a:gd name="T53" fmla="*/ 32 h 370"/>
                <a:gd name="T54" fmla="*/ 124 w 373"/>
                <a:gd name="T55" fmla="*/ 44 h 370"/>
                <a:gd name="T56" fmla="*/ 123 w 373"/>
                <a:gd name="T57" fmla="*/ 52 h 370"/>
                <a:gd name="T58" fmla="*/ 131 w 373"/>
                <a:gd name="T59" fmla="*/ 89 h 370"/>
                <a:gd name="T60" fmla="*/ 134 w 373"/>
                <a:gd name="T61" fmla="*/ 93 h 370"/>
                <a:gd name="T62" fmla="*/ 141 w 373"/>
                <a:gd name="T63" fmla="*/ 98 h 370"/>
                <a:gd name="T64" fmla="*/ 142 w 373"/>
                <a:gd name="T65" fmla="*/ 102 h 370"/>
                <a:gd name="T66" fmla="*/ 139 w 373"/>
                <a:gd name="T67" fmla="*/ 107 h 370"/>
                <a:gd name="T68" fmla="*/ 128 w 373"/>
                <a:gd name="T69" fmla="*/ 107 h 370"/>
                <a:gd name="T70" fmla="*/ 106 w 373"/>
                <a:gd name="T71" fmla="*/ 113 h 370"/>
                <a:gd name="T72" fmla="*/ 95 w 373"/>
                <a:gd name="T73" fmla="*/ 122 h 370"/>
                <a:gd name="T74" fmla="*/ 90 w 373"/>
                <a:gd name="T75" fmla="*/ 131 h 370"/>
                <a:gd name="T76" fmla="*/ 82 w 373"/>
                <a:gd name="T77" fmla="*/ 137 h 370"/>
                <a:gd name="T78" fmla="*/ 66 w 373"/>
                <a:gd name="T79" fmla="*/ 150 h 370"/>
                <a:gd name="T80" fmla="*/ 51 w 373"/>
                <a:gd name="T81" fmla="*/ 158 h 370"/>
                <a:gd name="T82" fmla="*/ 31 w 373"/>
                <a:gd name="T83" fmla="*/ 160 h 370"/>
                <a:gd name="T84" fmla="*/ 20 w 373"/>
                <a:gd name="T85" fmla="*/ 164 h 370"/>
                <a:gd name="T86" fmla="*/ 8 w 373"/>
                <a:gd name="T87" fmla="*/ 174 h 370"/>
                <a:gd name="T88" fmla="*/ 0 w 373"/>
                <a:gd name="T89" fmla="*/ 200 h 370"/>
                <a:gd name="T90" fmla="*/ 179 w 373"/>
                <a:gd name="T91" fmla="*/ 331 h 370"/>
                <a:gd name="T92" fmla="*/ 201 w 373"/>
                <a:gd name="T93" fmla="*/ 352 h 370"/>
                <a:gd name="T94" fmla="*/ 229 w 373"/>
                <a:gd name="T95" fmla="*/ 368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70" name="Freeform 238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4244975" y="2614613"/>
              <a:ext cx="384175" cy="436562"/>
            </a:xfrm>
            <a:custGeom>
              <a:avLst/>
              <a:gdLst>
                <a:gd name="T0" fmla="*/ 36 w 877"/>
                <a:gd name="T1" fmla="*/ 141 h 826"/>
                <a:gd name="T2" fmla="*/ 46 w 877"/>
                <a:gd name="T3" fmla="*/ 109 h 826"/>
                <a:gd name="T4" fmla="*/ 46 w 877"/>
                <a:gd name="T5" fmla="*/ 70 h 826"/>
                <a:gd name="T6" fmla="*/ 61 w 877"/>
                <a:gd name="T7" fmla="*/ 64 h 826"/>
                <a:gd name="T8" fmla="*/ 89 w 877"/>
                <a:gd name="T9" fmla="*/ 55 h 826"/>
                <a:gd name="T10" fmla="*/ 99 w 877"/>
                <a:gd name="T11" fmla="*/ 20 h 826"/>
                <a:gd name="T12" fmla="*/ 168 w 877"/>
                <a:gd name="T13" fmla="*/ 6 h 826"/>
                <a:gd name="T14" fmla="*/ 242 w 877"/>
                <a:gd name="T15" fmla="*/ 24 h 826"/>
                <a:gd name="T16" fmla="*/ 273 w 877"/>
                <a:gd name="T17" fmla="*/ 43 h 826"/>
                <a:gd name="T18" fmla="*/ 285 w 877"/>
                <a:gd name="T19" fmla="*/ 78 h 826"/>
                <a:gd name="T20" fmla="*/ 295 w 877"/>
                <a:gd name="T21" fmla="*/ 101 h 826"/>
                <a:gd name="T22" fmla="*/ 325 w 877"/>
                <a:gd name="T23" fmla="*/ 110 h 826"/>
                <a:gd name="T24" fmla="*/ 363 w 877"/>
                <a:gd name="T25" fmla="*/ 109 h 826"/>
                <a:gd name="T26" fmla="*/ 421 w 877"/>
                <a:gd name="T27" fmla="*/ 133 h 826"/>
                <a:gd name="T28" fmla="*/ 478 w 877"/>
                <a:gd name="T29" fmla="*/ 162 h 826"/>
                <a:gd name="T30" fmla="*/ 513 w 877"/>
                <a:gd name="T31" fmla="*/ 166 h 826"/>
                <a:gd name="T32" fmla="*/ 538 w 877"/>
                <a:gd name="T33" fmla="*/ 158 h 826"/>
                <a:gd name="T34" fmla="*/ 549 w 877"/>
                <a:gd name="T35" fmla="*/ 126 h 826"/>
                <a:gd name="T36" fmla="*/ 544 w 877"/>
                <a:gd name="T37" fmla="*/ 103 h 826"/>
                <a:gd name="T38" fmla="*/ 531 w 877"/>
                <a:gd name="T39" fmla="*/ 81 h 826"/>
                <a:gd name="T40" fmla="*/ 539 w 877"/>
                <a:gd name="T41" fmla="*/ 49 h 826"/>
                <a:gd name="T42" fmla="*/ 574 w 877"/>
                <a:gd name="T43" fmla="*/ 34 h 826"/>
                <a:gd name="T44" fmla="*/ 617 w 877"/>
                <a:gd name="T45" fmla="*/ 4 h 826"/>
                <a:gd name="T46" fmla="*/ 650 w 877"/>
                <a:gd name="T47" fmla="*/ 0 h 826"/>
                <a:gd name="T48" fmla="*/ 681 w 877"/>
                <a:gd name="T49" fmla="*/ 6 h 826"/>
                <a:gd name="T50" fmla="*/ 695 w 877"/>
                <a:gd name="T51" fmla="*/ 24 h 826"/>
                <a:gd name="T52" fmla="*/ 706 w 877"/>
                <a:gd name="T53" fmla="*/ 50 h 826"/>
                <a:gd name="T54" fmla="*/ 728 w 877"/>
                <a:gd name="T55" fmla="*/ 63 h 826"/>
                <a:gd name="T56" fmla="*/ 798 w 877"/>
                <a:gd name="T57" fmla="*/ 71 h 826"/>
                <a:gd name="T58" fmla="*/ 830 w 877"/>
                <a:gd name="T59" fmla="*/ 97 h 826"/>
                <a:gd name="T60" fmla="*/ 834 w 877"/>
                <a:gd name="T61" fmla="*/ 117 h 826"/>
                <a:gd name="T62" fmla="*/ 843 w 877"/>
                <a:gd name="T63" fmla="*/ 140 h 826"/>
                <a:gd name="T64" fmla="*/ 836 w 877"/>
                <a:gd name="T65" fmla="*/ 159 h 826"/>
                <a:gd name="T66" fmla="*/ 824 w 877"/>
                <a:gd name="T67" fmla="*/ 170 h 826"/>
                <a:gd name="T68" fmla="*/ 829 w 877"/>
                <a:gd name="T69" fmla="*/ 207 h 826"/>
                <a:gd name="T70" fmla="*/ 858 w 877"/>
                <a:gd name="T71" fmla="*/ 245 h 826"/>
                <a:gd name="T72" fmla="*/ 876 w 877"/>
                <a:gd name="T73" fmla="*/ 687 h 826"/>
                <a:gd name="T74" fmla="*/ 877 w 877"/>
                <a:gd name="T75" fmla="*/ 741 h 826"/>
                <a:gd name="T76" fmla="*/ 870 w 877"/>
                <a:gd name="T77" fmla="*/ 775 h 826"/>
                <a:gd name="T78" fmla="*/ 848 w 877"/>
                <a:gd name="T79" fmla="*/ 783 h 826"/>
                <a:gd name="T80" fmla="*/ 830 w 877"/>
                <a:gd name="T81" fmla="*/ 804 h 826"/>
                <a:gd name="T82" fmla="*/ 366 w 877"/>
                <a:gd name="T83" fmla="*/ 593 h 826"/>
                <a:gd name="T84" fmla="*/ 331 w 877"/>
                <a:gd name="T85" fmla="*/ 607 h 826"/>
                <a:gd name="T86" fmla="*/ 292 w 877"/>
                <a:gd name="T87" fmla="*/ 626 h 826"/>
                <a:gd name="T88" fmla="*/ 263 w 877"/>
                <a:gd name="T89" fmla="*/ 627 h 826"/>
                <a:gd name="T90" fmla="*/ 230 w 877"/>
                <a:gd name="T91" fmla="*/ 609 h 826"/>
                <a:gd name="T92" fmla="*/ 193 w 877"/>
                <a:gd name="T93" fmla="*/ 586 h 826"/>
                <a:gd name="T94" fmla="*/ 152 w 877"/>
                <a:gd name="T95" fmla="*/ 578 h 826"/>
                <a:gd name="T96" fmla="*/ 138 w 877"/>
                <a:gd name="T97" fmla="*/ 577 h 826"/>
                <a:gd name="T98" fmla="*/ 130 w 877"/>
                <a:gd name="T99" fmla="*/ 553 h 826"/>
                <a:gd name="T100" fmla="*/ 109 w 877"/>
                <a:gd name="T101" fmla="*/ 535 h 826"/>
                <a:gd name="T102" fmla="*/ 63 w 877"/>
                <a:gd name="T103" fmla="*/ 517 h 826"/>
                <a:gd name="T104" fmla="*/ 28 w 877"/>
                <a:gd name="T105" fmla="*/ 499 h 826"/>
                <a:gd name="T106" fmla="*/ 16 w 877"/>
                <a:gd name="T107" fmla="*/ 482 h 826"/>
                <a:gd name="T108" fmla="*/ 14 w 877"/>
                <a:gd name="T109" fmla="*/ 439 h 826"/>
                <a:gd name="T110" fmla="*/ 19 w 877"/>
                <a:gd name="T111" fmla="*/ 352 h 826"/>
                <a:gd name="T112" fmla="*/ 17 w 877"/>
                <a:gd name="T113" fmla="*/ 258 h 826"/>
                <a:gd name="T114" fmla="*/ 4 w 877"/>
                <a:gd name="T115" fmla="*/ 202 h 8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71" name="Freeform 239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4197350" y="2479675"/>
              <a:ext cx="93663" cy="236538"/>
            </a:xfrm>
            <a:custGeom>
              <a:avLst/>
              <a:gdLst>
                <a:gd name="T0" fmla="*/ 103 w 206"/>
                <a:gd name="T1" fmla="*/ 441 h 455"/>
                <a:gd name="T2" fmla="*/ 125 w 206"/>
                <a:gd name="T3" fmla="*/ 420 h 455"/>
                <a:gd name="T4" fmla="*/ 140 w 206"/>
                <a:gd name="T5" fmla="*/ 404 h 455"/>
                <a:gd name="T6" fmla="*/ 147 w 206"/>
                <a:gd name="T7" fmla="*/ 390 h 455"/>
                <a:gd name="T8" fmla="*/ 152 w 206"/>
                <a:gd name="T9" fmla="*/ 373 h 455"/>
                <a:gd name="T10" fmla="*/ 154 w 206"/>
                <a:gd name="T11" fmla="*/ 352 h 455"/>
                <a:gd name="T12" fmla="*/ 153 w 206"/>
                <a:gd name="T13" fmla="*/ 335 h 455"/>
                <a:gd name="T14" fmla="*/ 156 w 206"/>
                <a:gd name="T15" fmla="*/ 331 h 455"/>
                <a:gd name="T16" fmla="*/ 168 w 206"/>
                <a:gd name="T17" fmla="*/ 329 h 455"/>
                <a:gd name="T18" fmla="*/ 185 w 206"/>
                <a:gd name="T19" fmla="*/ 325 h 455"/>
                <a:gd name="T20" fmla="*/ 196 w 206"/>
                <a:gd name="T21" fmla="*/ 318 h 455"/>
                <a:gd name="T22" fmla="*/ 203 w 206"/>
                <a:gd name="T23" fmla="*/ 304 h 455"/>
                <a:gd name="T24" fmla="*/ 206 w 206"/>
                <a:gd name="T25" fmla="*/ 280 h 455"/>
                <a:gd name="T26" fmla="*/ 202 w 206"/>
                <a:gd name="T27" fmla="*/ 265 h 455"/>
                <a:gd name="T28" fmla="*/ 193 w 206"/>
                <a:gd name="T29" fmla="*/ 264 h 455"/>
                <a:gd name="T30" fmla="*/ 177 w 206"/>
                <a:gd name="T31" fmla="*/ 256 h 455"/>
                <a:gd name="T32" fmla="*/ 155 w 206"/>
                <a:gd name="T33" fmla="*/ 242 h 455"/>
                <a:gd name="T34" fmla="*/ 140 w 206"/>
                <a:gd name="T35" fmla="*/ 231 h 455"/>
                <a:gd name="T36" fmla="*/ 130 w 206"/>
                <a:gd name="T37" fmla="*/ 228 h 455"/>
                <a:gd name="T38" fmla="*/ 119 w 206"/>
                <a:gd name="T39" fmla="*/ 222 h 455"/>
                <a:gd name="T40" fmla="*/ 101 w 206"/>
                <a:gd name="T41" fmla="*/ 212 h 455"/>
                <a:gd name="T42" fmla="*/ 95 w 206"/>
                <a:gd name="T43" fmla="*/ 206 h 455"/>
                <a:gd name="T44" fmla="*/ 95 w 206"/>
                <a:gd name="T45" fmla="*/ 199 h 455"/>
                <a:gd name="T46" fmla="*/ 104 w 206"/>
                <a:gd name="T47" fmla="*/ 181 h 455"/>
                <a:gd name="T48" fmla="*/ 119 w 206"/>
                <a:gd name="T49" fmla="*/ 158 h 455"/>
                <a:gd name="T50" fmla="*/ 134 w 206"/>
                <a:gd name="T51" fmla="*/ 140 h 455"/>
                <a:gd name="T52" fmla="*/ 136 w 206"/>
                <a:gd name="T53" fmla="*/ 129 h 455"/>
                <a:gd name="T54" fmla="*/ 126 w 206"/>
                <a:gd name="T55" fmla="*/ 116 h 455"/>
                <a:gd name="T56" fmla="*/ 115 w 206"/>
                <a:gd name="T57" fmla="*/ 105 h 455"/>
                <a:gd name="T58" fmla="*/ 108 w 206"/>
                <a:gd name="T59" fmla="*/ 93 h 455"/>
                <a:gd name="T60" fmla="*/ 107 w 206"/>
                <a:gd name="T61" fmla="*/ 84 h 455"/>
                <a:gd name="T62" fmla="*/ 111 w 206"/>
                <a:gd name="T63" fmla="*/ 78 h 455"/>
                <a:gd name="T64" fmla="*/ 116 w 206"/>
                <a:gd name="T65" fmla="*/ 72 h 455"/>
                <a:gd name="T66" fmla="*/ 123 w 206"/>
                <a:gd name="T67" fmla="*/ 69 h 455"/>
                <a:gd name="T68" fmla="*/ 126 w 206"/>
                <a:gd name="T69" fmla="*/ 37 h 455"/>
                <a:gd name="T70" fmla="*/ 110 w 206"/>
                <a:gd name="T71" fmla="*/ 32 h 455"/>
                <a:gd name="T72" fmla="*/ 87 w 206"/>
                <a:gd name="T73" fmla="*/ 21 h 455"/>
                <a:gd name="T74" fmla="*/ 53 w 206"/>
                <a:gd name="T75" fmla="*/ 0 h 455"/>
                <a:gd name="T76" fmla="*/ 47 w 206"/>
                <a:gd name="T77" fmla="*/ 11 h 455"/>
                <a:gd name="T78" fmla="*/ 34 w 206"/>
                <a:gd name="T79" fmla="*/ 44 h 455"/>
                <a:gd name="T80" fmla="*/ 28 w 206"/>
                <a:gd name="T81" fmla="*/ 70 h 455"/>
                <a:gd name="T82" fmla="*/ 22 w 206"/>
                <a:gd name="T83" fmla="*/ 99 h 455"/>
                <a:gd name="T84" fmla="*/ 20 w 206"/>
                <a:gd name="T85" fmla="*/ 133 h 455"/>
                <a:gd name="T86" fmla="*/ 20 w 206"/>
                <a:gd name="T87" fmla="*/ 172 h 455"/>
                <a:gd name="T88" fmla="*/ 12 w 206"/>
                <a:gd name="T89" fmla="*/ 188 h 455"/>
                <a:gd name="T90" fmla="*/ 8 w 206"/>
                <a:gd name="T91" fmla="*/ 206 h 455"/>
                <a:gd name="T92" fmla="*/ 0 w 206"/>
                <a:gd name="T93" fmla="*/ 235 h 455"/>
                <a:gd name="T94" fmla="*/ 22 w 206"/>
                <a:gd name="T95" fmla="*/ 259 h 455"/>
                <a:gd name="T96" fmla="*/ 41 w 206"/>
                <a:gd name="T97" fmla="*/ 281 h 455"/>
                <a:gd name="T98" fmla="*/ 55 w 206"/>
                <a:gd name="T99" fmla="*/ 305 h 455"/>
                <a:gd name="T100" fmla="*/ 66 w 206"/>
                <a:gd name="T101" fmla="*/ 329 h 455"/>
                <a:gd name="T102" fmla="*/ 75 w 206"/>
                <a:gd name="T103" fmla="*/ 355 h 455"/>
                <a:gd name="T104" fmla="*/ 82 w 206"/>
                <a:gd name="T105" fmla="*/ 384 h 455"/>
                <a:gd name="T106" fmla="*/ 93 w 206"/>
                <a:gd name="T107" fmla="*/ 455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72" name="Freeform 240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3579813" y="2790825"/>
              <a:ext cx="231775" cy="215900"/>
            </a:xfrm>
            <a:custGeom>
              <a:avLst/>
              <a:gdLst>
                <a:gd name="T0" fmla="*/ 326 w 518"/>
                <a:gd name="T1" fmla="*/ 110 h 406"/>
                <a:gd name="T2" fmla="*/ 326 w 518"/>
                <a:gd name="T3" fmla="*/ 259 h 406"/>
                <a:gd name="T4" fmla="*/ 315 w 518"/>
                <a:gd name="T5" fmla="*/ 264 h 406"/>
                <a:gd name="T6" fmla="*/ 291 w 518"/>
                <a:gd name="T7" fmla="*/ 271 h 406"/>
                <a:gd name="T8" fmla="*/ 246 w 518"/>
                <a:gd name="T9" fmla="*/ 283 h 406"/>
                <a:gd name="T10" fmla="*/ 253 w 518"/>
                <a:gd name="T11" fmla="*/ 302 h 406"/>
                <a:gd name="T12" fmla="*/ 265 w 518"/>
                <a:gd name="T13" fmla="*/ 326 h 406"/>
                <a:gd name="T14" fmla="*/ 269 w 518"/>
                <a:gd name="T15" fmla="*/ 353 h 406"/>
                <a:gd name="T16" fmla="*/ 272 w 518"/>
                <a:gd name="T17" fmla="*/ 382 h 406"/>
                <a:gd name="T18" fmla="*/ 52 w 518"/>
                <a:gd name="T19" fmla="*/ 394 h 406"/>
                <a:gd name="T20" fmla="*/ 22 w 518"/>
                <a:gd name="T21" fmla="*/ 406 h 406"/>
                <a:gd name="T22" fmla="*/ 5 w 518"/>
                <a:gd name="T23" fmla="*/ 403 h 406"/>
                <a:gd name="T24" fmla="*/ 1 w 518"/>
                <a:gd name="T25" fmla="*/ 398 h 406"/>
                <a:gd name="T26" fmla="*/ 1 w 518"/>
                <a:gd name="T27" fmla="*/ 385 h 406"/>
                <a:gd name="T28" fmla="*/ 4 w 518"/>
                <a:gd name="T29" fmla="*/ 371 h 406"/>
                <a:gd name="T30" fmla="*/ 11 w 518"/>
                <a:gd name="T31" fmla="*/ 354 h 406"/>
                <a:gd name="T32" fmla="*/ 20 w 518"/>
                <a:gd name="T33" fmla="*/ 341 h 406"/>
                <a:gd name="T34" fmla="*/ 30 w 518"/>
                <a:gd name="T35" fmla="*/ 334 h 406"/>
                <a:gd name="T36" fmla="*/ 38 w 518"/>
                <a:gd name="T37" fmla="*/ 326 h 406"/>
                <a:gd name="T38" fmla="*/ 44 w 518"/>
                <a:gd name="T39" fmla="*/ 317 h 406"/>
                <a:gd name="T40" fmla="*/ 49 w 518"/>
                <a:gd name="T41" fmla="*/ 292 h 406"/>
                <a:gd name="T42" fmla="*/ 56 w 518"/>
                <a:gd name="T43" fmla="*/ 265 h 406"/>
                <a:gd name="T44" fmla="*/ 62 w 518"/>
                <a:gd name="T45" fmla="*/ 257 h 406"/>
                <a:gd name="T46" fmla="*/ 74 w 518"/>
                <a:gd name="T47" fmla="*/ 246 h 406"/>
                <a:gd name="T48" fmla="*/ 92 w 518"/>
                <a:gd name="T49" fmla="*/ 238 h 406"/>
                <a:gd name="T50" fmla="*/ 107 w 518"/>
                <a:gd name="T51" fmla="*/ 231 h 406"/>
                <a:gd name="T52" fmla="*/ 122 w 518"/>
                <a:gd name="T53" fmla="*/ 218 h 406"/>
                <a:gd name="T54" fmla="*/ 136 w 518"/>
                <a:gd name="T55" fmla="*/ 195 h 406"/>
                <a:gd name="T56" fmla="*/ 150 w 518"/>
                <a:gd name="T57" fmla="*/ 156 h 406"/>
                <a:gd name="T58" fmla="*/ 162 w 518"/>
                <a:gd name="T59" fmla="*/ 117 h 406"/>
                <a:gd name="T60" fmla="*/ 172 w 518"/>
                <a:gd name="T61" fmla="*/ 94 h 406"/>
                <a:gd name="T62" fmla="*/ 186 w 518"/>
                <a:gd name="T63" fmla="*/ 73 h 406"/>
                <a:gd name="T64" fmla="*/ 201 w 518"/>
                <a:gd name="T65" fmla="*/ 62 h 406"/>
                <a:gd name="T66" fmla="*/ 213 w 518"/>
                <a:gd name="T67" fmla="*/ 57 h 406"/>
                <a:gd name="T68" fmla="*/ 219 w 518"/>
                <a:gd name="T69" fmla="*/ 44 h 406"/>
                <a:gd name="T70" fmla="*/ 223 w 518"/>
                <a:gd name="T71" fmla="*/ 28 h 406"/>
                <a:gd name="T72" fmla="*/ 228 w 518"/>
                <a:gd name="T73" fmla="*/ 16 h 406"/>
                <a:gd name="T74" fmla="*/ 239 w 518"/>
                <a:gd name="T75" fmla="*/ 8 h 406"/>
                <a:gd name="T76" fmla="*/ 511 w 518"/>
                <a:gd name="T77" fmla="*/ 0 h 406"/>
                <a:gd name="T78" fmla="*/ 515 w 518"/>
                <a:gd name="T79" fmla="*/ 46 h 406"/>
                <a:gd name="T80" fmla="*/ 518 w 518"/>
                <a:gd name="T81" fmla="*/ 11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73" name="Freeform 241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3548063" y="1598613"/>
              <a:ext cx="190500" cy="93662"/>
            </a:xfrm>
            <a:custGeom>
              <a:avLst/>
              <a:gdLst>
                <a:gd name="T0" fmla="*/ 34 w 446"/>
                <a:gd name="T1" fmla="*/ 61 h 178"/>
                <a:gd name="T2" fmla="*/ 41 w 446"/>
                <a:gd name="T3" fmla="*/ 42 h 178"/>
                <a:gd name="T4" fmla="*/ 68 w 446"/>
                <a:gd name="T5" fmla="*/ 37 h 178"/>
                <a:gd name="T6" fmla="*/ 80 w 446"/>
                <a:gd name="T7" fmla="*/ 18 h 178"/>
                <a:gd name="T8" fmla="*/ 72 w 446"/>
                <a:gd name="T9" fmla="*/ 14 h 178"/>
                <a:gd name="T10" fmla="*/ 60 w 446"/>
                <a:gd name="T11" fmla="*/ 0 h 178"/>
                <a:gd name="T12" fmla="*/ 85 w 446"/>
                <a:gd name="T13" fmla="*/ 10 h 178"/>
                <a:gd name="T14" fmla="*/ 108 w 446"/>
                <a:gd name="T15" fmla="*/ 39 h 178"/>
                <a:gd name="T16" fmla="*/ 125 w 446"/>
                <a:gd name="T17" fmla="*/ 62 h 178"/>
                <a:gd name="T18" fmla="*/ 139 w 446"/>
                <a:gd name="T19" fmla="*/ 67 h 178"/>
                <a:gd name="T20" fmla="*/ 157 w 446"/>
                <a:gd name="T21" fmla="*/ 63 h 178"/>
                <a:gd name="T22" fmla="*/ 181 w 446"/>
                <a:gd name="T23" fmla="*/ 45 h 178"/>
                <a:gd name="T24" fmla="*/ 205 w 446"/>
                <a:gd name="T25" fmla="*/ 23 h 178"/>
                <a:gd name="T26" fmla="*/ 220 w 446"/>
                <a:gd name="T27" fmla="*/ 31 h 178"/>
                <a:gd name="T28" fmla="*/ 359 w 446"/>
                <a:gd name="T29" fmla="*/ 11 h 178"/>
                <a:gd name="T30" fmla="*/ 376 w 446"/>
                <a:gd name="T31" fmla="*/ 23 h 178"/>
                <a:gd name="T32" fmla="*/ 396 w 446"/>
                <a:gd name="T33" fmla="*/ 22 h 178"/>
                <a:gd name="T34" fmla="*/ 413 w 446"/>
                <a:gd name="T35" fmla="*/ 37 h 178"/>
                <a:gd name="T36" fmla="*/ 415 w 446"/>
                <a:gd name="T37" fmla="*/ 43 h 178"/>
                <a:gd name="T38" fmla="*/ 429 w 446"/>
                <a:gd name="T39" fmla="*/ 54 h 178"/>
                <a:gd name="T40" fmla="*/ 443 w 446"/>
                <a:gd name="T41" fmla="*/ 68 h 178"/>
                <a:gd name="T42" fmla="*/ 446 w 446"/>
                <a:gd name="T43" fmla="*/ 80 h 178"/>
                <a:gd name="T44" fmla="*/ 438 w 446"/>
                <a:gd name="T45" fmla="*/ 96 h 178"/>
                <a:gd name="T46" fmla="*/ 413 w 446"/>
                <a:gd name="T47" fmla="*/ 111 h 178"/>
                <a:gd name="T48" fmla="*/ 397 w 446"/>
                <a:gd name="T49" fmla="*/ 120 h 178"/>
                <a:gd name="T50" fmla="*/ 366 w 446"/>
                <a:gd name="T51" fmla="*/ 123 h 178"/>
                <a:gd name="T52" fmla="*/ 300 w 446"/>
                <a:gd name="T53" fmla="*/ 146 h 178"/>
                <a:gd name="T54" fmla="*/ 234 w 446"/>
                <a:gd name="T55" fmla="*/ 171 h 178"/>
                <a:gd name="T56" fmla="*/ 199 w 446"/>
                <a:gd name="T57" fmla="*/ 178 h 178"/>
                <a:gd name="T58" fmla="*/ 177 w 446"/>
                <a:gd name="T59" fmla="*/ 174 h 178"/>
                <a:gd name="T60" fmla="*/ 172 w 446"/>
                <a:gd name="T61" fmla="*/ 164 h 178"/>
                <a:gd name="T62" fmla="*/ 170 w 446"/>
                <a:gd name="T63" fmla="*/ 161 h 178"/>
                <a:gd name="T64" fmla="*/ 156 w 446"/>
                <a:gd name="T65" fmla="*/ 161 h 178"/>
                <a:gd name="T66" fmla="*/ 139 w 446"/>
                <a:gd name="T67" fmla="*/ 160 h 178"/>
                <a:gd name="T68" fmla="*/ 100 w 446"/>
                <a:gd name="T69" fmla="*/ 147 h 178"/>
                <a:gd name="T70" fmla="*/ 85 w 446"/>
                <a:gd name="T71" fmla="*/ 137 h 178"/>
                <a:gd name="T72" fmla="*/ 81 w 446"/>
                <a:gd name="T73" fmla="*/ 125 h 178"/>
                <a:gd name="T74" fmla="*/ 87 w 446"/>
                <a:gd name="T75" fmla="*/ 111 h 178"/>
                <a:gd name="T76" fmla="*/ 27 w 446"/>
                <a:gd name="T77" fmla="*/ 103 h 178"/>
                <a:gd name="T78" fmla="*/ 9 w 446"/>
                <a:gd name="T79" fmla="*/ 105 h 178"/>
                <a:gd name="T80" fmla="*/ 0 w 446"/>
                <a:gd name="T81" fmla="*/ 80 h 178"/>
                <a:gd name="T82" fmla="*/ 60 w 446"/>
                <a:gd name="T83" fmla="*/ 86 h 178"/>
                <a:gd name="T84" fmla="*/ 87 w 446"/>
                <a:gd name="T85" fmla="*/ 80 h 178"/>
                <a:gd name="T86" fmla="*/ 23 w 446"/>
                <a:gd name="T87" fmla="*/ 68 h 178"/>
                <a:gd name="T88" fmla="*/ 16 w 446"/>
                <a:gd name="T89" fmla="*/ 55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74" name="Freeform 242"/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4340225" y="1862138"/>
              <a:ext cx="14288" cy="57150"/>
            </a:xfrm>
            <a:custGeom>
              <a:avLst/>
              <a:gdLst>
                <a:gd name="T0" fmla="*/ 0 w 28"/>
                <a:gd name="T1" fmla="*/ 73 h 73"/>
                <a:gd name="T2" fmla="*/ 2 w 28"/>
                <a:gd name="T3" fmla="*/ 47 h 73"/>
                <a:gd name="T4" fmla="*/ 6 w 28"/>
                <a:gd name="T5" fmla="*/ 28 h 73"/>
                <a:gd name="T6" fmla="*/ 7 w 28"/>
                <a:gd name="T7" fmla="*/ 20 h 73"/>
                <a:gd name="T8" fmla="*/ 6 w 28"/>
                <a:gd name="T9" fmla="*/ 13 h 73"/>
                <a:gd name="T10" fmla="*/ 4 w 28"/>
                <a:gd name="T11" fmla="*/ 7 h 73"/>
                <a:gd name="T12" fmla="*/ 0 w 28"/>
                <a:gd name="T13" fmla="*/ 0 h 73"/>
                <a:gd name="T14" fmla="*/ 28 w 28"/>
                <a:gd name="T15" fmla="*/ 0 h 73"/>
                <a:gd name="T16" fmla="*/ 22 w 28"/>
                <a:gd name="T17" fmla="*/ 16 h 73"/>
                <a:gd name="T18" fmla="*/ 17 w 28"/>
                <a:gd name="T19" fmla="*/ 30 h 73"/>
                <a:gd name="T20" fmla="*/ 12 w 28"/>
                <a:gd name="T21" fmla="*/ 43 h 73"/>
                <a:gd name="T22" fmla="*/ 7 w 28"/>
                <a:gd name="T23" fmla="*/ 55 h 73"/>
                <a:gd name="T24" fmla="*/ 0 w 28"/>
                <a:gd name="T2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75" name="Freeform 243"/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4227513" y="1525588"/>
              <a:ext cx="234950" cy="395287"/>
            </a:xfrm>
            <a:custGeom>
              <a:avLst/>
              <a:gdLst>
                <a:gd name="T0" fmla="*/ 419 w 531"/>
                <a:gd name="T1" fmla="*/ 203 h 757"/>
                <a:gd name="T2" fmla="*/ 406 w 531"/>
                <a:gd name="T3" fmla="*/ 221 h 757"/>
                <a:gd name="T4" fmla="*/ 404 w 531"/>
                <a:gd name="T5" fmla="*/ 237 h 757"/>
                <a:gd name="T6" fmla="*/ 382 w 531"/>
                <a:gd name="T7" fmla="*/ 275 h 757"/>
                <a:gd name="T8" fmla="*/ 325 w 531"/>
                <a:gd name="T9" fmla="*/ 306 h 757"/>
                <a:gd name="T10" fmla="*/ 252 w 531"/>
                <a:gd name="T11" fmla="*/ 354 h 757"/>
                <a:gd name="T12" fmla="*/ 237 w 531"/>
                <a:gd name="T13" fmla="*/ 369 h 757"/>
                <a:gd name="T14" fmla="*/ 245 w 531"/>
                <a:gd name="T15" fmla="*/ 381 h 757"/>
                <a:gd name="T16" fmla="*/ 240 w 531"/>
                <a:gd name="T17" fmla="*/ 424 h 757"/>
                <a:gd name="T18" fmla="*/ 239 w 531"/>
                <a:gd name="T19" fmla="*/ 449 h 757"/>
                <a:gd name="T20" fmla="*/ 262 w 531"/>
                <a:gd name="T21" fmla="*/ 468 h 757"/>
                <a:gd name="T22" fmla="*/ 320 w 531"/>
                <a:gd name="T23" fmla="*/ 485 h 757"/>
                <a:gd name="T24" fmla="*/ 332 w 531"/>
                <a:gd name="T25" fmla="*/ 505 h 757"/>
                <a:gd name="T26" fmla="*/ 310 w 531"/>
                <a:gd name="T27" fmla="*/ 531 h 757"/>
                <a:gd name="T28" fmla="*/ 272 w 531"/>
                <a:gd name="T29" fmla="*/ 547 h 757"/>
                <a:gd name="T30" fmla="*/ 265 w 531"/>
                <a:gd name="T31" fmla="*/ 560 h 757"/>
                <a:gd name="T32" fmla="*/ 252 w 531"/>
                <a:gd name="T33" fmla="*/ 631 h 757"/>
                <a:gd name="T34" fmla="*/ 239 w 531"/>
                <a:gd name="T35" fmla="*/ 721 h 757"/>
                <a:gd name="T36" fmla="*/ 173 w 531"/>
                <a:gd name="T37" fmla="*/ 727 h 757"/>
                <a:gd name="T38" fmla="*/ 152 w 531"/>
                <a:gd name="T39" fmla="*/ 738 h 757"/>
                <a:gd name="T40" fmla="*/ 153 w 531"/>
                <a:gd name="T41" fmla="*/ 757 h 757"/>
                <a:gd name="T42" fmla="*/ 106 w 531"/>
                <a:gd name="T43" fmla="*/ 757 h 757"/>
                <a:gd name="T44" fmla="*/ 95 w 531"/>
                <a:gd name="T45" fmla="*/ 752 h 757"/>
                <a:gd name="T46" fmla="*/ 71 w 531"/>
                <a:gd name="T47" fmla="*/ 718 h 757"/>
                <a:gd name="T48" fmla="*/ 41 w 531"/>
                <a:gd name="T49" fmla="*/ 640 h 757"/>
                <a:gd name="T50" fmla="*/ 34 w 531"/>
                <a:gd name="T51" fmla="*/ 597 h 757"/>
                <a:gd name="T52" fmla="*/ 14 w 531"/>
                <a:gd name="T53" fmla="*/ 586 h 757"/>
                <a:gd name="T54" fmla="*/ 19 w 531"/>
                <a:gd name="T55" fmla="*/ 561 h 757"/>
                <a:gd name="T56" fmla="*/ 36 w 531"/>
                <a:gd name="T57" fmla="*/ 538 h 757"/>
                <a:gd name="T58" fmla="*/ 53 w 531"/>
                <a:gd name="T59" fmla="*/ 504 h 757"/>
                <a:gd name="T60" fmla="*/ 61 w 531"/>
                <a:gd name="T61" fmla="*/ 471 h 757"/>
                <a:gd name="T62" fmla="*/ 64 w 531"/>
                <a:gd name="T63" fmla="*/ 441 h 757"/>
                <a:gd name="T64" fmla="*/ 58 w 531"/>
                <a:gd name="T65" fmla="*/ 408 h 757"/>
                <a:gd name="T66" fmla="*/ 43 w 531"/>
                <a:gd name="T67" fmla="*/ 377 h 757"/>
                <a:gd name="T68" fmla="*/ 74 w 531"/>
                <a:gd name="T69" fmla="*/ 276 h 757"/>
                <a:gd name="T70" fmla="*/ 103 w 531"/>
                <a:gd name="T71" fmla="*/ 275 h 757"/>
                <a:gd name="T72" fmla="*/ 113 w 531"/>
                <a:gd name="T73" fmla="*/ 234 h 757"/>
                <a:gd name="T74" fmla="*/ 137 w 531"/>
                <a:gd name="T75" fmla="*/ 192 h 757"/>
                <a:gd name="T76" fmla="*/ 180 w 531"/>
                <a:gd name="T77" fmla="*/ 145 h 757"/>
                <a:gd name="T78" fmla="*/ 198 w 531"/>
                <a:gd name="T79" fmla="*/ 111 h 757"/>
                <a:gd name="T80" fmla="*/ 228 w 531"/>
                <a:gd name="T81" fmla="*/ 60 h 757"/>
                <a:gd name="T82" fmla="*/ 249 w 531"/>
                <a:gd name="T83" fmla="*/ 43 h 757"/>
                <a:gd name="T84" fmla="*/ 309 w 531"/>
                <a:gd name="T85" fmla="*/ 29 h 757"/>
                <a:gd name="T86" fmla="*/ 368 w 531"/>
                <a:gd name="T87" fmla="*/ 13 h 757"/>
                <a:gd name="T88" fmla="*/ 401 w 531"/>
                <a:gd name="T89" fmla="*/ 5 h 757"/>
                <a:gd name="T90" fmla="*/ 431 w 531"/>
                <a:gd name="T91" fmla="*/ 32 h 757"/>
                <a:gd name="T92" fmla="*/ 457 w 531"/>
                <a:gd name="T93" fmla="*/ 42 h 757"/>
                <a:gd name="T94" fmla="*/ 513 w 531"/>
                <a:gd name="T95" fmla="*/ 111 h 757"/>
                <a:gd name="T96" fmla="*/ 528 w 531"/>
                <a:gd name="T97" fmla="*/ 150 h 7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algn="ctr"/>
              <a:endParaRPr lang="de-DE" sz="3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76" name="Freeform 244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4365625" y="1839913"/>
              <a:ext cx="26988" cy="57150"/>
            </a:xfrm>
            <a:custGeom>
              <a:avLst/>
              <a:gdLst>
                <a:gd name="T0" fmla="*/ 0 w 60"/>
                <a:gd name="T1" fmla="*/ 37 h 51"/>
                <a:gd name="T2" fmla="*/ 6 w 60"/>
                <a:gd name="T3" fmla="*/ 30 h 51"/>
                <a:gd name="T4" fmla="*/ 15 w 60"/>
                <a:gd name="T5" fmla="*/ 19 h 51"/>
                <a:gd name="T6" fmla="*/ 20 w 60"/>
                <a:gd name="T7" fmla="*/ 13 h 51"/>
                <a:gd name="T8" fmla="*/ 27 w 60"/>
                <a:gd name="T9" fmla="*/ 8 h 51"/>
                <a:gd name="T10" fmla="*/ 33 w 60"/>
                <a:gd name="T11" fmla="*/ 4 h 51"/>
                <a:gd name="T12" fmla="*/ 40 w 60"/>
                <a:gd name="T13" fmla="*/ 0 h 51"/>
                <a:gd name="T14" fmla="*/ 50 w 60"/>
                <a:gd name="T15" fmla="*/ 7 h 51"/>
                <a:gd name="T16" fmla="*/ 60 w 60"/>
                <a:gd name="T17" fmla="*/ 13 h 51"/>
                <a:gd name="T18" fmla="*/ 59 w 60"/>
                <a:gd name="T19" fmla="*/ 20 h 51"/>
                <a:gd name="T20" fmla="*/ 56 w 60"/>
                <a:gd name="T21" fmla="*/ 29 h 51"/>
                <a:gd name="T22" fmla="*/ 54 w 60"/>
                <a:gd name="T23" fmla="*/ 34 h 51"/>
                <a:gd name="T24" fmla="*/ 52 w 60"/>
                <a:gd name="T25" fmla="*/ 38 h 51"/>
                <a:gd name="T26" fmla="*/ 49 w 60"/>
                <a:gd name="T27" fmla="*/ 42 h 51"/>
                <a:gd name="T28" fmla="*/ 45 w 60"/>
                <a:gd name="T29" fmla="*/ 45 h 51"/>
                <a:gd name="T30" fmla="*/ 41 w 60"/>
                <a:gd name="T31" fmla="*/ 48 h 51"/>
                <a:gd name="T32" fmla="*/ 37 w 60"/>
                <a:gd name="T33" fmla="*/ 50 h 51"/>
                <a:gd name="T34" fmla="*/ 31 w 60"/>
                <a:gd name="T35" fmla="*/ 51 h 51"/>
                <a:gd name="T36" fmla="*/ 27 w 60"/>
                <a:gd name="T37" fmla="*/ 51 h 51"/>
                <a:gd name="T38" fmla="*/ 20 w 60"/>
                <a:gd name="T39" fmla="*/ 50 h 51"/>
                <a:gd name="T40" fmla="*/ 15 w 60"/>
                <a:gd name="T41" fmla="*/ 47 h 51"/>
                <a:gd name="T42" fmla="*/ 7 w 60"/>
                <a:gd name="T43" fmla="*/ 43 h 51"/>
                <a:gd name="T44" fmla="*/ 0 w 60"/>
                <a:gd name="T45" fmla="*/ 3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77" name="Freeform 245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3810000" y="2001838"/>
              <a:ext cx="28575" cy="57150"/>
            </a:xfrm>
            <a:custGeom>
              <a:avLst/>
              <a:gdLst>
                <a:gd name="T0" fmla="*/ 59 w 66"/>
                <a:gd name="T1" fmla="*/ 48 h 51"/>
                <a:gd name="T2" fmla="*/ 42 w 66"/>
                <a:gd name="T3" fmla="*/ 50 h 51"/>
                <a:gd name="T4" fmla="*/ 22 w 66"/>
                <a:gd name="T5" fmla="*/ 51 h 51"/>
                <a:gd name="T6" fmla="*/ 17 w 66"/>
                <a:gd name="T7" fmla="*/ 50 h 51"/>
                <a:gd name="T8" fmla="*/ 13 w 66"/>
                <a:gd name="T9" fmla="*/ 49 h 51"/>
                <a:gd name="T10" fmla="*/ 10 w 66"/>
                <a:gd name="T11" fmla="*/ 48 h 51"/>
                <a:gd name="T12" fmla="*/ 7 w 66"/>
                <a:gd name="T13" fmla="*/ 46 h 51"/>
                <a:gd name="T14" fmla="*/ 3 w 66"/>
                <a:gd name="T15" fmla="*/ 43 h 51"/>
                <a:gd name="T16" fmla="*/ 1 w 66"/>
                <a:gd name="T17" fmla="*/ 40 h 51"/>
                <a:gd name="T18" fmla="*/ 0 w 66"/>
                <a:gd name="T19" fmla="*/ 35 h 51"/>
                <a:gd name="T20" fmla="*/ 0 w 66"/>
                <a:gd name="T21" fmla="*/ 30 h 51"/>
                <a:gd name="T22" fmla="*/ 4 w 66"/>
                <a:gd name="T23" fmla="*/ 29 h 51"/>
                <a:gd name="T24" fmla="*/ 10 w 66"/>
                <a:gd name="T25" fmla="*/ 27 h 51"/>
                <a:gd name="T26" fmla="*/ 14 w 66"/>
                <a:gd name="T27" fmla="*/ 24 h 51"/>
                <a:gd name="T28" fmla="*/ 19 w 66"/>
                <a:gd name="T29" fmla="*/ 20 h 51"/>
                <a:gd name="T30" fmla="*/ 26 w 66"/>
                <a:gd name="T31" fmla="*/ 10 h 51"/>
                <a:gd name="T32" fmla="*/ 33 w 66"/>
                <a:gd name="T33" fmla="*/ 0 h 51"/>
                <a:gd name="T34" fmla="*/ 46 w 66"/>
                <a:gd name="T35" fmla="*/ 1 h 51"/>
                <a:gd name="T36" fmla="*/ 52 w 66"/>
                <a:gd name="T37" fmla="*/ 2 h 51"/>
                <a:gd name="T38" fmla="*/ 56 w 66"/>
                <a:gd name="T39" fmla="*/ 3 h 51"/>
                <a:gd name="T40" fmla="*/ 66 w 66"/>
                <a:gd name="T41" fmla="*/ 0 h 51"/>
                <a:gd name="T42" fmla="*/ 65 w 66"/>
                <a:gd name="T43" fmla="*/ 13 h 51"/>
                <a:gd name="T44" fmla="*/ 63 w 66"/>
                <a:gd name="T45" fmla="*/ 24 h 51"/>
                <a:gd name="T46" fmla="*/ 60 w 66"/>
                <a:gd name="T47" fmla="*/ 36 h 51"/>
                <a:gd name="T48" fmla="*/ 59 w 66"/>
                <a:gd name="T49" fmla="*/ 4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78" name="Freeform 246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4762500" y="2530475"/>
              <a:ext cx="50800" cy="57150"/>
            </a:xfrm>
            <a:custGeom>
              <a:avLst/>
              <a:gdLst>
                <a:gd name="T0" fmla="*/ 0 w 113"/>
                <a:gd name="T1" fmla="*/ 44 h 74"/>
                <a:gd name="T2" fmla="*/ 20 w 113"/>
                <a:gd name="T3" fmla="*/ 74 h 74"/>
                <a:gd name="T4" fmla="*/ 37 w 113"/>
                <a:gd name="T5" fmla="*/ 69 h 74"/>
                <a:gd name="T6" fmla="*/ 51 w 113"/>
                <a:gd name="T7" fmla="*/ 65 h 74"/>
                <a:gd name="T8" fmla="*/ 64 w 113"/>
                <a:gd name="T9" fmla="*/ 59 h 74"/>
                <a:gd name="T10" fmla="*/ 74 w 113"/>
                <a:gd name="T11" fmla="*/ 53 h 74"/>
                <a:gd name="T12" fmla="*/ 78 w 113"/>
                <a:gd name="T13" fmla="*/ 49 h 74"/>
                <a:gd name="T14" fmla="*/ 83 w 113"/>
                <a:gd name="T15" fmla="*/ 45 h 74"/>
                <a:gd name="T16" fmla="*/ 86 w 113"/>
                <a:gd name="T17" fmla="*/ 41 h 74"/>
                <a:gd name="T18" fmla="*/ 88 w 113"/>
                <a:gd name="T19" fmla="*/ 37 h 74"/>
                <a:gd name="T20" fmla="*/ 90 w 113"/>
                <a:gd name="T21" fmla="*/ 32 h 74"/>
                <a:gd name="T22" fmla="*/ 91 w 113"/>
                <a:gd name="T23" fmla="*/ 26 h 74"/>
                <a:gd name="T24" fmla="*/ 93 w 113"/>
                <a:gd name="T25" fmla="*/ 19 h 74"/>
                <a:gd name="T26" fmla="*/ 94 w 113"/>
                <a:gd name="T27" fmla="*/ 13 h 74"/>
                <a:gd name="T28" fmla="*/ 99 w 113"/>
                <a:gd name="T29" fmla="*/ 12 h 74"/>
                <a:gd name="T30" fmla="*/ 106 w 113"/>
                <a:gd name="T31" fmla="*/ 9 h 74"/>
                <a:gd name="T32" fmla="*/ 108 w 113"/>
                <a:gd name="T33" fmla="*/ 7 h 74"/>
                <a:gd name="T34" fmla="*/ 111 w 113"/>
                <a:gd name="T35" fmla="*/ 5 h 74"/>
                <a:gd name="T36" fmla="*/ 112 w 113"/>
                <a:gd name="T37" fmla="*/ 3 h 74"/>
                <a:gd name="T38" fmla="*/ 113 w 113"/>
                <a:gd name="T39" fmla="*/ 0 h 74"/>
                <a:gd name="T40" fmla="*/ 98 w 113"/>
                <a:gd name="T41" fmla="*/ 4 h 74"/>
                <a:gd name="T42" fmla="*/ 82 w 113"/>
                <a:gd name="T43" fmla="*/ 8 h 74"/>
                <a:gd name="T44" fmla="*/ 65 w 113"/>
                <a:gd name="T45" fmla="*/ 13 h 74"/>
                <a:gd name="T46" fmla="*/ 49 w 113"/>
                <a:gd name="T47" fmla="*/ 19 h 74"/>
                <a:gd name="T48" fmla="*/ 20 w 113"/>
                <a:gd name="T49" fmla="*/ 33 h 74"/>
                <a:gd name="T50" fmla="*/ 0 w 113"/>
                <a:gd name="T51" fmla="*/ 4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79" name="Freeform 247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4370388" y="3322638"/>
              <a:ext cx="325437" cy="244475"/>
            </a:xfrm>
            <a:custGeom>
              <a:avLst/>
              <a:gdLst>
                <a:gd name="T0" fmla="*/ 98 w 746"/>
                <a:gd name="T1" fmla="*/ 452 h 469"/>
                <a:gd name="T2" fmla="*/ 54 w 746"/>
                <a:gd name="T3" fmla="*/ 440 h 469"/>
                <a:gd name="T4" fmla="*/ 21 w 746"/>
                <a:gd name="T5" fmla="*/ 429 h 469"/>
                <a:gd name="T6" fmla="*/ 5 w 746"/>
                <a:gd name="T7" fmla="*/ 413 h 469"/>
                <a:gd name="T8" fmla="*/ 0 w 746"/>
                <a:gd name="T9" fmla="*/ 363 h 469"/>
                <a:gd name="T10" fmla="*/ 5 w 746"/>
                <a:gd name="T11" fmla="*/ 309 h 469"/>
                <a:gd name="T12" fmla="*/ 23 w 746"/>
                <a:gd name="T13" fmla="*/ 273 h 469"/>
                <a:gd name="T14" fmla="*/ 56 w 746"/>
                <a:gd name="T15" fmla="*/ 228 h 469"/>
                <a:gd name="T16" fmla="*/ 121 w 746"/>
                <a:gd name="T17" fmla="*/ 204 h 469"/>
                <a:gd name="T18" fmla="*/ 166 w 746"/>
                <a:gd name="T19" fmla="*/ 188 h 469"/>
                <a:gd name="T20" fmla="*/ 235 w 746"/>
                <a:gd name="T21" fmla="*/ 173 h 469"/>
                <a:gd name="T22" fmla="*/ 262 w 746"/>
                <a:gd name="T23" fmla="*/ 153 h 469"/>
                <a:gd name="T24" fmla="*/ 267 w 746"/>
                <a:gd name="T25" fmla="*/ 136 h 469"/>
                <a:gd name="T26" fmla="*/ 292 w 746"/>
                <a:gd name="T27" fmla="*/ 120 h 469"/>
                <a:gd name="T28" fmla="*/ 332 w 746"/>
                <a:gd name="T29" fmla="*/ 115 h 469"/>
                <a:gd name="T30" fmla="*/ 359 w 746"/>
                <a:gd name="T31" fmla="*/ 101 h 469"/>
                <a:gd name="T32" fmla="*/ 389 w 746"/>
                <a:gd name="T33" fmla="*/ 67 h 469"/>
                <a:gd name="T34" fmla="*/ 425 w 746"/>
                <a:gd name="T35" fmla="*/ 22 h 469"/>
                <a:gd name="T36" fmla="*/ 450 w 746"/>
                <a:gd name="T37" fmla="*/ 6 h 469"/>
                <a:gd name="T38" fmla="*/ 486 w 746"/>
                <a:gd name="T39" fmla="*/ 0 h 469"/>
                <a:gd name="T40" fmla="*/ 507 w 746"/>
                <a:gd name="T41" fmla="*/ 29 h 469"/>
                <a:gd name="T42" fmla="*/ 532 w 746"/>
                <a:gd name="T43" fmla="*/ 53 h 469"/>
                <a:gd name="T44" fmla="*/ 553 w 746"/>
                <a:gd name="T45" fmla="*/ 107 h 469"/>
                <a:gd name="T46" fmla="*/ 579 w 746"/>
                <a:gd name="T47" fmla="*/ 159 h 469"/>
                <a:gd name="T48" fmla="*/ 613 w 746"/>
                <a:gd name="T49" fmla="*/ 172 h 469"/>
                <a:gd name="T50" fmla="*/ 628 w 746"/>
                <a:gd name="T51" fmla="*/ 193 h 469"/>
                <a:gd name="T52" fmla="*/ 650 w 746"/>
                <a:gd name="T53" fmla="*/ 233 h 469"/>
                <a:gd name="T54" fmla="*/ 702 w 746"/>
                <a:gd name="T55" fmla="*/ 279 h 469"/>
                <a:gd name="T56" fmla="*/ 741 w 746"/>
                <a:gd name="T57" fmla="*/ 315 h 469"/>
                <a:gd name="T58" fmla="*/ 711 w 746"/>
                <a:gd name="T59" fmla="*/ 345 h 469"/>
                <a:gd name="T60" fmla="*/ 691 w 746"/>
                <a:gd name="T61" fmla="*/ 342 h 469"/>
                <a:gd name="T62" fmla="*/ 679 w 746"/>
                <a:gd name="T63" fmla="*/ 321 h 469"/>
                <a:gd name="T64" fmla="*/ 651 w 746"/>
                <a:gd name="T65" fmla="*/ 330 h 469"/>
                <a:gd name="T66" fmla="*/ 639 w 746"/>
                <a:gd name="T67" fmla="*/ 352 h 469"/>
                <a:gd name="T68" fmla="*/ 604 w 746"/>
                <a:gd name="T69" fmla="*/ 356 h 469"/>
                <a:gd name="T70" fmla="*/ 553 w 746"/>
                <a:gd name="T71" fmla="*/ 356 h 469"/>
                <a:gd name="T72" fmla="*/ 522 w 746"/>
                <a:gd name="T73" fmla="*/ 365 h 469"/>
                <a:gd name="T74" fmla="*/ 496 w 746"/>
                <a:gd name="T75" fmla="*/ 387 h 469"/>
                <a:gd name="T76" fmla="*/ 486 w 746"/>
                <a:gd name="T77" fmla="*/ 394 h 469"/>
                <a:gd name="T78" fmla="*/ 426 w 746"/>
                <a:gd name="T79" fmla="*/ 400 h 469"/>
                <a:gd name="T80" fmla="*/ 396 w 746"/>
                <a:gd name="T81" fmla="*/ 392 h 469"/>
                <a:gd name="T82" fmla="*/ 349 w 746"/>
                <a:gd name="T83" fmla="*/ 354 h 469"/>
                <a:gd name="T84" fmla="*/ 319 w 746"/>
                <a:gd name="T85" fmla="*/ 345 h 469"/>
                <a:gd name="T86" fmla="*/ 291 w 746"/>
                <a:gd name="T87" fmla="*/ 355 h 469"/>
                <a:gd name="T88" fmla="*/ 266 w 746"/>
                <a:gd name="T89" fmla="*/ 377 h 469"/>
                <a:gd name="T90" fmla="*/ 227 w 746"/>
                <a:gd name="T91" fmla="*/ 437 h 469"/>
                <a:gd name="T92" fmla="*/ 150 w 746"/>
                <a:gd name="T93" fmla="*/ 439 h 469"/>
                <a:gd name="T94" fmla="*/ 135 w 746"/>
                <a:gd name="T95" fmla="*/ 448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80" name="Freeform 248"/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4306888" y="3490913"/>
              <a:ext cx="500062" cy="552450"/>
            </a:xfrm>
            <a:custGeom>
              <a:avLst/>
              <a:gdLst>
                <a:gd name="T0" fmla="*/ 902 w 1145"/>
                <a:gd name="T1" fmla="*/ 57 h 1053"/>
                <a:gd name="T2" fmla="*/ 993 w 1145"/>
                <a:gd name="T3" fmla="*/ 66 h 1053"/>
                <a:gd name="T4" fmla="*/ 1080 w 1145"/>
                <a:gd name="T5" fmla="*/ 81 h 1053"/>
                <a:gd name="T6" fmla="*/ 1126 w 1145"/>
                <a:gd name="T7" fmla="*/ 175 h 1053"/>
                <a:gd name="T8" fmla="*/ 1133 w 1145"/>
                <a:gd name="T9" fmla="*/ 211 h 1053"/>
                <a:gd name="T10" fmla="*/ 1058 w 1145"/>
                <a:gd name="T11" fmla="*/ 272 h 1053"/>
                <a:gd name="T12" fmla="*/ 1045 w 1145"/>
                <a:gd name="T13" fmla="*/ 360 h 1053"/>
                <a:gd name="T14" fmla="*/ 1003 w 1145"/>
                <a:gd name="T15" fmla="*/ 440 h 1053"/>
                <a:gd name="T16" fmla="*/ 990 w 1145"/>
                <a:gd name="T17" fmla="*/ 476 h 1053"/>
                <a:gd name="T18" fmla="*/ 1019 w 1145"/>
                <a:gd name="T19" fmla="*/ 576 h 1053"/>
                <a:gd name="T20" fmla="*/ 1026 w 1145"/>
                <a:gd name="T21" fmla="*/ 664 h 1053"/>
                <a:gd name="T22" fmla="*/ 1047 w 1145"/>
                <a:gd name="T23" fmla="*/ 731 h 1053"/>
                <a:gd name="T24" fmla="*/ 1079 w 1145"/>
                <a:gd name="T25" fmla="*/ 765 h 1053"/>
                <a:gd name="T26" fmla="*/ 1092 w 1145"/>
                <a:gd name="T27" fmla="*/ 825 h 1053"/>
                <a:gd name="T28" fmla="*/ 1040 w 1145"/>
                <a:gd name="T29" fmla="*/ 844 h 1053"/>
                <a:gd name="T30" fmla="*/ 997 w 1145"/>
                <a:gd name="T31" fmla="*/ 856 h 1053"/>
                <a:gd name="T32" fmla="*/ 960 w 1145"/>
                <a:gd name="T33" fmla="*/ 992 h 1053"/>
                <a:gd name="T34" fmla="*/ 930 w 1145"/>
                <a:gd name="T35" fmla="*/ 1026 h 1053"/>
                <a:gd name="T36" fmla="*/ 902 w 1145"/>
                <a:gd name="T37" fmla="*/ 1031 h 1053"/>
                <a:gd name="T38" fmla="*/ 840 w 1145"/>
                <a:gd name="T39" fmla="*/ 1053 h 1053"/>
                <a:gd name="T40" fmla="*/ 782 w 1145"/>
                <a:gd name="T41" fmla="*/ 1037 h 1053"/>
                <a:gd name="T42" fmla="*/ 743 w 1145"/>
                <a:gd name="T43" fmla="*/ 1014 h 1053"/>
                <a:gd name="T44" fmla="*/ 707 w 1145"/>
                <a:gd name="T45" fmla="*/ 997 h 1053"/>
                <a:gd name="T46" fmla="*/ 674 w 1145"/>
                <a:gd name="T47" fmla="*/ 986 h 1053"/>
                <a:gd name="T48" fmla="*/ 608 w 1145"/>
                <a:gd name="T49" fmla="*/ 987 h 1053"/>
                <a:gd name="T50" fmla="*/ 594 w 1145"/>
                <a:gd name="T51" fmla="*/ 942 h 1053"/>
                <a:gd name="T52" fmla="*/ 575 w 1145"/>
                <a:gd name="T53" fmla="*/ 884 h 1053"/>
                <a:gd name="T54" fmla="*/ 590 w 1145"/>
                <a:gd name="T55" fmla="*/ 846 h 1053"/>
                <a:gd name="T56" fmla="*/ 590 w 1145"/>
                <a:gd name="T57" fmla="*/ 779 h 1053"/>
                <a:gd name="T58" fmla="*/ 454 w 1145"/>
                <a:gd name="T59" fmla="*/ 755 h 1053"/>
                <a:gd name="T60" fmla="*/ 443 w 1145"/>
                <a:gd name="T61" fmla="*/ 785 h 1053"/>
                <a:gd name="T62" fmla="*/ 396 w 1145"/>
                <a:gd name="T63" fmla="*/ 817 h 1053"/>
                <a:gd name="T64" fmla="*/ 337 w 1145"/>
                <a:gd name="T65" fmla="*/ 797 h 1053"/>
                <a:gd name="T66" fmla="*/ 297 w 1145"/>
                <a:gd name="T67" fmla="*/ 708 h 1053"/>
                <a:gd name="T68" fmla="*/ 3 w 1145"/>
                <a:gd name="T69" fmla="*/ 671 h 1053"/>
                <a:gd name="T70" fmla="*/ 45 w 1145"/>
                <a:gd name="T71" fmla="*/ 667 h 1053"/>
                <a:gd name="T72" fmla="*/ 26 w 1145"/>
                <a:gd name="T73" fmla="*/ 631 h 1053"/>
                <a:gd name="T74" fmla="*/ 75 w 1145"/>
                <a:gd name="T75" fmla="*/ 615 h 1053"/>
                <a:gd name="T76" fmla="*/ 145 w 1145"/>
                <a:gd name="T77" fmla="*/ 614 h 1053"/>
                <a:gd name="T78" fmla="*/ 183 w 1145"/>
                <a:gd name="T79" fmla="*/ 620 h 1053"/>
                <a:gd name="T80" fmla="*/ 220 w 1145"/>
                <a:gd name="T81" fmla="*/ 574 h 1053"/>
                <a:gd name="T82" fmla="*/ 260 w 1145"/>
                <a:gd name="T83" fmla="*/ 555 h 1053"/>
                <a:gd name="T84" fmla="*/ 281 w 1145"/>
                <a:gd name="T85" fmla="*/ 440 h 1053"/>
                <a:gd name="T86" fmla="*/ 346 w 1145"/>
                <a:gd name="T87" fmla="*/ 370 h 1053"/>
                <a:gd name="T88" fmla="*/ 370 w 1145"/>
                <a:gd name="T89" fmla="*/ 276 h 1053"/>
                <a:gd name="T90" fmla="*/ 372 w 1145"/>
                <a:gd name="T91" fmla="*/ 180 h 1053"/>
                <a:gd name="T92" fmla="*/ 383 w 1145"/>
                <a:gd name="T93" fmla="*/ 122 h 1053"/>
                <a:gd name="T94" fmla="*/ 440 w 1145"/>
                <a:gd name="T95" fmla="*/ 35 h 1053"/>
                <a:gd name="T96" fmla="*/ 491 w 1145"/>
                <a:gd name="T97" fmla="*/ 30 h 1053"/>
                <a:gd name="T98" fmla="*/ 558 w 1145"/>
                <a:gd name="T99" fmla="*/ 77 h 1053"/>
                <a:gd name="T100" fmla="*/ 637 w 1145"/>
                <a:gd name="T101" fmla="*/ 73 h 1053"/>
                <a:gd name="T102" fmla="*/ 670 w 1145"/>
                <a:gd name="T103" fmla="*/ 44 h 1053"/>
                <a:gd name="T104" fmla="*/ 734 w 1145"/>
                <a:gd name="T105" fmla="*/ 34 h 1053"/>
                <a:gd name="T106" fmla="*/ 795 w 1145"/>
                <a:gd name="T107" fmla="*/ 17 h 1053"/>
                <a:gd name="T108" fmla="*/ 828 w 1145"/>
                <a:gd name="T109" fmla="*/ 8 h 1053"/>
                <a:gd name="T110" fmla="*/ 859 w 1145"/>
                <a:gd name="T111" fmla="*/ 24 h 1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81" name="Freeform 249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4243388" y="3590925"/>
              <a:ext cx="55562" cy="55563"/>
            </a:xfrm>
            <a:custGeom>
              <a:avLst/>
              <a:gdLst>
                <a:gd name="T0" fmla="*/ 120 w 125"/>
                <a:gd name="T1" fmla="*/ 0 h 81"/>
                <a:gd name="T2" fmla="*/ 121 w 125"/>
                <a:gd name="T3" fmla="*/ 27 h 81"/>
                <a:gd name="T4" fmla="*/ 124 w 125"/>
                <a:gd name="T5" fmla="*/ 46 h 81"/>
                <a:gd name="T6" fmla="*/ 125 w 125"/>
                <a:gd name="T7" fmla="*/ 53 h 81"/>
                <a:gd name="T8" fmla="*/ 125 w 125"/>
                <a:gd name="T9" fmla="*/ 59 h 81"/>
                <a:gd name="T10" fmla="*/ 125 w 125"/>
                <a:gd name="T11" fmla="*/ 65 h 81"/>
                <a:gd name="T12" fmla="*/ 123 w 125"/>
                <a:gd name="T13" fmla="*/ 69 h 81"/>
                <a:gd name="T14" fmla="*/ 119 w 125"/>
                <a:gd name="T15" fmla="*/ 72 h 81"/>
                <a:gd name="T16" fmla="*/ 112 w 125"/>
                <a:gd name="T17" fmla="*/ 74 h 81"/>
                <a:gd name="T18" fmla="*/ 103 w 125"/>
                <a:gd name="T19" fmla="*/ 76 h 81"/>
                <a:gd name="T20" fmla="*/ 91 w 125"/>
                <a:gd name="T21" fmla="*/ 77 h 81"/>
                <a:gd name="T22" fmla="*/ 57 w 125"/>
                <a:gd name="T23" fmla="*/ 79 h 81"/>
                <a:gd name="T24" fmla="*/ 7 w 125"/>
                <a:gd name="T25" fmla="*/ 81 h 81"/>
                <a:gd name="T26" fmla="*/ 5 w 125"/>
                <a:gd name="T27" fmla="*/ 79 h 81"/>
                <a:gd name="T28" fmla="*/ 3 w 125"/>
                <a:gd name="T29" fmla="*/ 72 h 81"/>
                <a:gd name="T30" fmla="*/ 1 w 125"/>
                <a:gd name="T31" fmla="*/ 59 h 81"/>
                <a:gd name="T32" fmla="*/ 0 w 125"/>
                <a:gd name="T33" fmla="*/ 43 h 81"/>
                <a:gd name="T34" fmla="*/ 0 w 125"/>
                <a:gd name="T35" fmla="*/ 37 h 81"/>
                <a:gd name="T36" fmla="*/ 1 w 125"/>
                <a:gd name="T37" fmla="*/ 31 h 81"/>
                <a:gd name="T38" fmla="*/ 2 w 125"/>
                <a:gd name="T39" fmla="*/ 25 h 81"/>
                <a:gd name="T40" fmla="*/ 4 w 125"/>
                <a:gd name="T41" fmla="*/ 20 h 81"/>
                <a:gd name="T42" fmla="*/ 8 w 125"/>
                <a:gd name="T43" fmla="*/ 15 h 81"/>
                <a:gd name="T44" fmla="*/ 11 w 125"/>
                <a:gd name="T45" fmla="*/ 10 h 81"/>
                <a:gd name="T46" fmla="*/ 14 w 125"/>
                <a:gd name="T47" fmla="*/ 5 h 81"/>
                <a:gd name="T48" fmla="*/ 20 w 125"/>
                <a:gd name="T49" fmla="*/ 0 h 81"/>
                <a:gd name="T50" fmla="*/ 120 w 125"/>
                <a:gd name="T51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82" name="Freeform 250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4225925" y="3590925"/>
              <a:ext cx="152400" cy="201613"/>
            </a:xfrm>
            <a:custGeom>
              <a:avLst/>
              <a:gdLst>
                <a:gd name="T0" fmla="*/ 262 w 355"/>
                <a:gd name="T1" fmla="*/ 15 h 388"/>
                <a:gd name="T2" fmla="*/ 257 w 355"/>
                <a:gd name="T3" fmla="*/ 37 h 388"/>
                <a:gd name="T4" fmla="*/ 264 w 355"/>
                <a:gd name="T5" fmla="*/ 51 h 388"/>
                <a:gd name="T6" fmla="*/ 283 w 355"/>
                <a:gd name="T7" fmla="*/ 60 h 388"/>
                <a:gd name="T8" fmla="*/ 319 w 355"/>
                <a:gd name="T9" fmla="*/ 55 h 388"/>
                <a:gd name="T10" fmla="*/ 332 w 355"/>
                <a:gd name="T11" fmla="*/ 57 h 388"/>
                <a:gd name="T12" fmla="*/ 340 w 355"/>
                <a:gd name="T13" fmla="*/ 68 h 388"/>
                <a:gd name="T14" fmla="*/ 345 w 355"/>
                <a:gd name="T15" fmla="*/ 83 h 388"/>
                <a:gd name="T16" fmla="*/ 351 w 355"/>
                <a:gd name="T17" fmla="*/ 94 h 388"/>
                <a:gd name="T18" fmla="*/ 345 w 355"/>
                <a:gd name="T19" fmla="*/ 108 h 388"/>
                <a:gd name="T20" fmla="*/ 320 w 355"/>
                <a:gd name="T21" fmla="*/ 136 h 388"/>
                <a:gd name="T22" fmla="*/ 348 w 355"/>
                <a:gd name="T23" fmla="*/ 175 h 388"/>
                <a:gd name="T24" fmla="*/ 355 w 355"/>
                <a:gd name="T25" fmla="*/ 202 h 388"/>
                <a:gd name="T26" fmla="*/ 353 w 355"/>
                <a:gd name="T27" fmla="*/ 219 h 388"/>
                <a:gd name="T28" fmla="*/ 345 w 355"/>
                <a:gd name="T29" fmla="*/ 254 h 388"/>
                <a:gd name="T30" fmla="*/ 333 w 355"/>
                <a:gd name="T31" fmla="*/ 271 h 388"/>
                <a:gd name="T32" fmla="*/ 312 w 355"/>
                <a:gd name="T33" fmla="*/ 280 h 388"/>
                <a:gd name="T34" fmla="*/ 286 w 355"/>
                <a:gd name="T35" fmla="*/ 282 h 388"/>
                <a:gd name="T36" fmla="*/ 270 w 355"/>
                <a:gd name="T37" fmla="*/ 282 h 388"/>
                <a:gd name="T38" fmla="*/ 252 w 355"/>
                <a:gd name="T39" fmla="*/ 265 h 388"/>
                <a:gd name="T40" fmla="*/ 240 w 355"/>
                <a:gd name="T41" fmla="*/ 259 h 388"/>
                <a:gd name="T42" fmla="*/ 221 w 355"/>
                <a:gd name="T43" fmla="*/ 269 h 388"/>
                <a:gd name="T44" fmla="*/ 205 w 355"/>
                <a:gd name="T45" fmla="*/ 279 h 388"/>
                <a:gd name="T46" fmla="*/ 194 w 355"/>
                <a:gd name="T47" fmla="*/ 285 h 388"/>
                <a:gd name="T48" fmla="*/ 185 w 355"/>
                <a:gd name="T49" fmla="*/ 298 h 388"/>
                <a:gd name="T50" fmla="*/ 187 w 355"/>
                <a:gd name="T51" fmla="*/ 321 h 388"/>
                <a:gd name="T52" fmla="*/ 207 w 355"/>
                <a:gd name="T53" fmla="*/ 358 h 388"/>
                <a:gd name="T54" fmla="*/ 195 w 355"/>
                <a:gd name="T55" fmla="*/ 353 h 388"/>
                <a:gd name="T56" fmla="*/ 177 w 355"/>
                <a:gd name="T57" fmla="*/ 355 h 388"/>
                <a:gd name="T58" fmla="*/ 162 w 355"/>
                <a:gd name="T59" fmla="*/ 365 h 388"/>
                <a:gd name="T60" fmla="*/ 146 w 355"/>
                <a:gd name="T61" fmla="*/ 388 h 388"/>
                <a:gd name="T62" fmla="*/ 123 w 355"/>
                <a:gd name="T63" fmla="*/ 370 h 388"/>
                <a:gd name="T64" fmla="*/ 113 w 355"/>
                <a:gd name="T65" fmla="*/ 358 h 388"/>
                <a:gd name="T66" fmla="*/ 96 w 355"/>
                <a:gd name="T67" fmla="*/ 324 h 388"/>
                <a:gd name="T68" fmla="*/ 50 w 355"/>
                <a:gd name="T69" fmla="*/ 280 h 388"/>
                <a:gd name="T70" fmla="*/ 22 w 355"/>
                <a:gd name="T71" fmla="*/ 254 h 388"/>
                <a:gd name="T72" fmla="*/ 5 w 355"/>
                <a:gd name="T73" fmla="*/ 223 h 388"/>
                <a:gd name="T74" fmla="*/ 1 w 355"/>
                <a:gd name="T75" fmla="*/ 187 h 388"/>
                <a:gd name="T76" fmla="*/ 11 w 355"/>
                <a:gd name="T77" fmla="*/ 162 h 388"/>
                <a:gd name="T78" fmla="*/ 41 w 355"/>
                <a:gd name="T79" fmla="*/ 134 h 388"/>
                <a:gd name="T80" fmla="*/ 54 w 355"/>
                <a:gd name="T81" fmla="*/ 116 h 388"/>
                <a:gd name="T82" fmla="*/ 56 w 355"/>
                <a:gd name="T83" fmla="*/ 91 h 388"/>
                <a:gd name="T84" fmla="*/ 108 w 355"/>
                <a:gd name="T85" fmla="*/ 83 h 388"/>
                <a:gd name="T86" fmla="*/ 156 w 355"/>
                <a:gd name="T87" fmla="*/ 80 h 388"/>
                <a:gd name="T88" fmla="*/ 172 w 355"/>
                <a:gd name="T89" fmla="*/ 73 h 388"/>
                <a:gd name="T90" fmla="*/ 177 w 355"/>
                <a:gd name="T91" fmla="*/ 63 h 388"/>
                <a:gd name="T92" fmla="*/ 174 w 355"/>
                <a:gd name="T93" fmla="*/ 41 h 388"/>
                <a:gd name="T94" fmla="*/ 167 w 355"/>
                <a:gd name="T95" fmla="*/ 12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83" name="Freeform 251"/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4759325" y="3995738"/>
              <a:ext cx="260350" cy="520700"/>
            </a:xfrm>
            <a:custGeom>
              <a:avLst/>
              <a:gdLst>
                <a:gd name="T0" fmla="*/ 0 w 599"/>
                <a:gd name="T1" fmla="*/ 259 h 993"/>
                <a:gd name="T2" fmla="*/ 182 w 599"/>
                <a:gd name="T3" fmla="*/ 224 h 993"/>
                <a:gd name="T4" fmla="*/ 230 w 599"/>
                <a:gd name="T5" fmla="*/ 240 h 993"/>
                <a:gd name="T6" fmla="*/ 258 w 599"/>
                <a:gd name="T7" fmla="*/ 258 h 993"/>
                <a:gd name="T8" fmla="*/ 252 w 599"/>
                <a:gd name="T9" fmla="*/ 296 h 993"/>
                <a:gd name="T10" fmla="*/ 234 w 599"/>
                <a:gd name="T11" fmla="*/ 327 h 993"/>
                <a:gd name="T12" fmla="*/ 250 w 599"/>
                <a:gd name="T13" fmla="*/ 357 h 993"/>
                <a:gd name="T14" fmla="*/ 294 w 599"/>
                <a:gd name="T15" fmla="*/ 365 h 993"/>
                <a:gd name="T16" fmla="*/ 319 w 599"/>
                <a:gd name="T17" fmla="*/ 340 h 993"/>
                <a:gd name="T18" fmla="*/ 338 w 599"/>
                <a:gd name="T19" fmla="*/ 317 h 993"/>
                <a:gd name="T20" fmla="*/ 332 w 599"/>
                <a:gd name="T21" fmla="*/ 261 h 993"/>
                <a:gd name="T22" fmla="*/ 314 w 599"/>
                <a:gd name="T23" fmla="*/ 204 h 993"/>
                <a:gd name="T24" fmla="*/ 271 w 599"/>
                <a:gd name="T25" fmla="*/ 157 h 993"/>
                <a:gd name="T26" fmla="*/ 254 w 599"/>
                <a:gd name="T27" fmla="*/ 125 h 993"/>
                <a:gd name="T28" fmla="*/ 270 w 599"/>
                <a:gd name="T29" fmla="*/ 62 h 993"/>
                <a:gd name="T30" fmla="*/ 320 w 599"/>
                <a:gd name="T31" fmla="*/ 55 h 993"/>
                <a:gd name="T32" fmla="*/ 418 w 599"/>
                <a:gd name="T33" fmla="*/ 60 h 993"/>
                <a:gd name="T34" fmla="*/ 521 w 599"/>
                <a:gd name="T35" fmla="*/ 36 h 993"/>
                <a:gd name="T36" fmla="*/ 597 w 599"/>
                <a:gd name="T37" fmla="*/ 3 h 993"/>
                <a:gd name="T38" fmla="*/ 597 w 599"/>
                <a:gd name="T39" fmla="*/ 30 h 993"/>
                <a:gd name="T40" fmla="*/ 597 w 599"/>
                <a:gd name="T41" fmla="*/ 126 h 993"/>
                <a:gd name="T42" fmla="*/ 592 w 599"/>
                <a:gd name="T43" fmla="*/ 228 h 993"/>
                <a:gd name="T44" fmla="*/ 585 w 599"/>
                <a:gd name="T45" fmla="*/ 276 h 993"/>
                <a:gd name="T46" fmla="*/ 550 w 599"/>
                <a:gd name="T47" fmla="*/ 337 h 993"/>
                <a:gd name="T48" fmla="*/ 468 w 599"/>
                <a:gd name="T49" fmla="*/ 402 h 993"/>
                <a:gd name="T50" fmla="*/ 374 w 599"/>
                <a:gd name="T51" fmla="*/ 426 h 993"/>
                <a:gd name="T52" fmla="*/ 353 w 599"/>
                <a:gd name="T53" fmla="*/ 464 h 993"/>
                <a:gd name="T54" fmla="*/ 293 w 599"/>
                <a:gd name="T55" fmla="*/ 507 h 993"/>
                <a:gd name="T56" fmla="*/ 243 w 599"/>
                <a:gd name="T57" fmla="*/ 549 h 993"/>
                <a:gd name="T58" fmla="*/ 229 w 599"/>
                <a:gd name="T59" fmla="*/ 582 h 993"/>
                <a:gd name="T60" fmla="*/ 237 w 599"/>
                <a:gd name="T61" fmla="*/ 619 h 993"/>
                <a:gd name="T62" fmla="*/ 267 w 599"/>
                <a:gd name="T63" fmla="*/ 654 h 993"/>
                <a:gd name="T64" fmla="*/ 254 w 599"/>
                <a:gd name="T65" fmla="*/ 694 h 993"/>
                <a:gd name="T66" fmla="*/ 265 w 599"/>
                <a:gd name="T67" fmla="*/ 729 h 993"/>
                <a:gd name="T68" fmla="*/ 267 w 599"/>
                <a:gd name="T69" fmla="*/ 790 h 993"/>
                <a:gd name="T70" fmla="*/ 256 w 599"/>
                <a:gd name="T71" fmla="*/ 814 h 993"/>
                <a:gd name="T72" fmla="*/ 193 w 599"/>
                <a:gd name="T73" fmla="*/ 873 h 993"/>
                <a:gd name="T74" fmla="*/ 147 w 599"/>
                <a:gd name="T75" fmla="*/ 887 h 993"/>
                <a:gd name="T76" fmla="*/ 102 w 599"/>
                <a:gd name="T77" fmla="*/ 894 h 993"/>
                <a:gd name="T78" fmla="*/ 87 w 599"/>
                <a:gd name="T79" fmla="*/ 913 h 993"/>
                <a:gd name="T80" fmla="*/ 95 w 599"/>
                <a:gd name="T81" fmla="*/ 939 h 993"/>
                <a:gd name="T82" fmla="*/ 91 w 599"/>
                <a:gd name="T83" fmla="*/ 992 h 993"/>
                <a:gd name="T84" fmla="*/ 74 w 599"/>
                <a:gd name="T85" fmla="*/ 810 h 993"/>
                <a:gd name="T86" fmla="*/ 58 w 599"/>
                <a:gd name="T87" fmla="*/ 765 h 993"/>
                <a:gd name="T88" fmla="*/ 41 w 599"/>
                <a:gd name="T89" fmla="*/ 720 h 993"/>
                <a:gd name="T90" fmla="*/ 108 w 599"/>
                <a:gd name="T91" fmla="*/ 666 h 993"/>
                <a:gd name="T92" fmla="*/ 109 w 599"/>
                <a:gd name="T93" fmla="*/ 614 h 993"/>
                <a:gd name="T94" fmla="*/ 149 w 599"/>
                <a:gd name="T95" fmla="*/ 571 h 993"/>
                <a:gd name="T96" fmla="*/ 174 w 599"/>
                <a:gd name="T97" fmla="*/ 526 h 993"/>
                <a:gd name="T98" fmla="*/ 168 w 599"/>
                <a:gd name="T99" fmla="*/ 441 h 993"/>
                <a:gd name="T100" fmla="*/ 152 w 599"/>
                <a:gd name="T101" fmla="*/ 364 h 993"/>
                <a:gd name="T102" fmla="*/ 81 w 599"/>
                <a:gd name="T103" fmla="*/ 341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84" name="Freeform 252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4494213" y="4235450"/>
              <a:ext cx="238125" cy="287338"/>
            </a:xfrm>
            <a:custGeom>
              <a:avLst/>
              <a:gdLst>
                <a:gd name="T0" fmla="*/ 30 w 545"/>
                <a:gd name="T1" fmla="*/ 428 h 549"/>
                <a:gd name="T2" fmla="*/ 46 w 545"/>
                <a:gd name="T3" fmla="*/ 454 h 549"/>
                <a:gd name="T4" fmla="*/ 46 w 545"/>
                <a:gd name="T5" fmla="*/ 512 h 549"/>
                <a:gd name="T6" fmla="*/ 48 w 545"/>
                <a:gd name="T7" fmla="*/ 527 h 549"/>
                <a:gd name="T8" fmla="*/ 55 w 545"/>
                <a:gd name="T9" fmla="*/ 537 h 549"/>
                <a:gd name="T10" fmla="*/ 68 w 545"/>
                <a:gd name="T11" fmla="*/ 545 h 549"/>
                <a:gd name="T12" fmla="*/ 100 w 545"/>
                <a:gd name="T13" fmla="*/ 549 h 549"/>
                <a:gd name="T14" fmla="*/ 113 w 545"/>
                <a:gd name="T15" fmla="*/ 546 h 549"/>
                <a:gd name="T16" fmla="*/ 130 w 545"/>
                <a:gd name="T17" fmla="*/ 533 h 549"/>
                <a:gd name="T18" fmla="*/ 143 w 545"/>
                <a:gd name="T19" fmla="*/ 507 h 549"/>
                <a:gd name="T20" fmla="*/ 154 w 545"/>
                <a:gd name="T21" fmla="*/ 477 h 549"/>
                <a:gd name="T22" fmla="*/ 169 w 545"/>
                <a:gd name="T23" fmla="*/ 454 h 549"/>
                <a:gd name="T24" fmla="*/ 183 w 545"/>
                <a:gd name="T25" fmla="*/ 445 h 549"/>
                <a:gd name="T26" fmla="*/ 201 w 545"/>
                <a:gd name="T27" fmla="*/ 444 h 549"/>
                <a:gd name="T28" fmla="*/ 222 w 545"/>
                <a:gd name="T29" fmla="*/ 448 h 549"/>
                <a:gd name="T30" fmla="*/ 252 w 545"/>
                <a:gd name="T31" fmla="*/ 461 h 549"/>
                <a:gd name="T32" fmla="*/ 272 w 545"/>
                <a:gd name="T33" fmla="*/ 468 h 549"/>
                <a:gd name="T34" fmla="*/ 297 w 545"/>
                <a:gd name="T35" fmla="*/ 469 h 549"/>
                <a:gd name="T36" fmla="*/ 319 w 545"/>
                <a:gd name="T37" fmla="*/ 464 h 549"/>
                <a:gd name="T38" fmla="*/ 332 w 545"/>
                <a:gd name="T39" fmla="*/ 453 h 549"/>
                <a:gd name="T40" fmla="*/ 359 w 545"/>
                <a:gd name="T41" fmla="*/ 388 h 549"/>
                <a:gd name="T42" fmla="*/ 382 w 545"/>
                <a:gd name="T43" fmla="*/ 363 h 549"/>
                <a:gd name="T44" fmla="*/ 447 w 545"/>
                <a:gd name="T45" fmla="*/ 314 h 549"/>
                <a:gd name="T46" fmla="*/ 527 w 545"/>
                <a:gd name="T47" fmla="*/ 264 h 549"/>
                <a:gd name="T48" fmla="*/ 528 w 545"/>
                <a:gd name="T49" fmla="*/ 232 h 549"/>
                <a:gd name="T50" fmla="*/ 503 w 545"/>
                <a:gd name="T51" fmla="*/ 218 h 549"/>
                <a:gd name="T52" fmla="*/ 485 w 545"/>
                <a:gd name="T53" fmla="*/ 199 h 549"/>
                <a:gd name="T54" fmla="*/ 460 w 545"/>
                <a:gd name="T55" fmla="*/ 157 h 549"/>
                <a:gd name="T56" fmla="*/ 440 w 545"/>
                <a:gd name="T57" fmla="*/ 132 h 549"/>
                <a:gd name="T58" fmla="*/ 377 w 545"/>
                <a:gd name="T59" fmla="*/ 76 h 549"/>
                <a:gd name="T60" fmla="*/ 359 w 545"/>
                <a:gd name="T61" fmla="*/ 53 h 549"/>
                <a:gd name="T62" fmla="*/ 348 w 545"/>
                <a:gd name="T63" fmla="*/ 24 h 549"/>
                <a:gd name="T64" fmla="*/ 319 w 545"/>
                <a:gd name="T65" fmla="*/ 0 h 549"/>
                <a:gd name="T66" fmla="*/ 244 w 545"/>
                <a:gd name="T67" fmla="*/ 2 h 549"/>
                <a:gd name="T68" fmla="*/ 176 w 545"/>
                <a:gd name="T69" fmla="*/ 13 h 549"/>
                <a:gd name="T70" fmla="*/ 95 w 545"/>
                <a:gd name="T71" fmla="*/ 22 h 549"/>
                <a:gd name="T72" fmla="*/ 71 w 545"/>
                <a:gd name="T73" fmla="*/ 27 h 549"/>
                <a:gd name="T74" fmla="*/ 67 w 545"/>
                <a:gd name="T75" fmla="*/ 38 h 549"/>
                <a:gd name="T76" fmla="*/ 73 w 545"/>
                <a:gd name="T77" fmla="*/ 56 h 549"/>
                <a:gd name="T78" fmla="*/ 84 w 545"/>
                <a:gd name="T79" fmla="*/ 74 h 549"/>
                <a:gd name="T80" fmla="*/ 86 w 545"/>
                <a:gd name="T81" fmla="*/ 107 h 549"/>
                <a:gd name="T82" fmla="*/ 74 w 545"/>
                <a:gd name="T83" fmla="*/ 171 h 549"/>
                <a:gd name="T84" fmla="*/ 62 w 545"/>
                <a:gd name="T85" fmla="*/ 237 h 549"/>
                <a:gd name="T86" fmla="*/ 47 w 545"/>
                <a:gd name="T87" fmla="*/ 263 h 549"/>
                <a:gd name="T88" fmla="*/ 26 w 545"/>
                <a:gd name="T89" fmla="*/ 277 h 549"/>
                <a:gd name="T90" fmla="*/ 5 w 545"/>
                <a:gd name="T91" fmla="*/ 307 h 549"/>
                <a:gd name="T92" fmla="*/ 1 w 545"/>
                <a:gd name="T93" fmla="*/ 339 h 549"/>
                <a:gd name="T94" fmla="*/ 8 w 545"/>
                <a:gd name="T95" fmla="*/ 367 h 549"/>
                <a:gd name="T96" fmla="*/ 8 w 545"/>
                <a:gd name="T97" fmla="*/ 391 h 549"/>
                <a:gd name="T98" fmla="*/ 0 w 545"/>
                <a:gd name="T99" fmla="*/ 408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85" name="Freeform 253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5067300" y="4037013"/>
              <a:ext cx="196850" cy="434975"/>
            </a:xfrm>
            <a:custGeom>
              <a:avLst/>
              <a:gdLst>
                <a:gd name="T0" fmla="*/ 112 w 452"/>
                <a:gd name="T1" fmla="*/ 261 h 832"/>
                <a:gd name="T2" fmla="*/ 138 w 452"/>
                <a:gd name="T3" fmla="*/ 248 h 832"/>
                <a:gd name="T4" fmla="*/ 165 w 452"/>
                <a:gd name="T5" fmla="*/ 240 h 832"/>
                <a:gd name="T6" fmla="*/ 192 w 452"/>
                <a:gd name="T7" fmla="*/ 232 h 832"/>
                <a:gd name="T8" fmla="*/ 215 w 452"/>
                <a:gd name="T9" fmla="*/ 217 h 832"/>
                <a:gd name="T10" fmla="*/ 232 w 452"/>
                <a:gd name="T11" fmla="*/ 200 h 832"/>
                <a:gd name="T12" fmla="*/ 232 w 452"/>
                <a:gd name="T13" fmla="*/ 179 h 832"/>
                <a:gd name="T14" fmla="*/ 265 w 452"/>
                <a:gd name="T15" fmla="*/ 178 h 832"/>
                <a:gd name="T16" fmla="*/ 282 w 452"/>
                <a:gd name="T17" fmla="*/ 173 h 832"/>
                <a:gd name="T18" fmla="*/ 298 w 452"/>
                <a:gd name="T19" fmla="*/ 162 h 832"/>
                <a:gd name="T20" fmla="*/ 320 w 452"/>
                <a:gd name="T21" fmla="*/ 133 h 832"/>
                <a:gd name="T22" fmla="*/ 350 w 452"/>
                <a:gd name="T23" fmla="*/ 75 h 832"/>
                <a:gd name="T24" fmla="*/ 378 w 452"/>
                <a:gd name="T25" fmla="*/ 0 h 832"/>
                <a:gd name="T26" fmla="*/ 385 w 452"/>
                <a:gd name="T27" fmla="*/ 19 h 832"/>
                <a:gd name="T28" fmla="*/ 407 w 452"/>
                <a:gd name="T29" fmla="*/ 47 h 832"/>
                <a:gd name="T30" fmla="*/ 448 w 452"/>
                <a:gd name="T31" fmla="*/ 85 h 832"/>
                <a:gd name="T32" fmla="*/ 440 w 452"/>
                <a:gd name="T33" fmla="*/ 103 h 832"/>
                <a:gd name="T34" fmla="*/ 444 w 452"/>
                <a:gd name="T35" fmla="*/ 138 h 832"/>
                <a:gd name="T36" fmla="*/ 452 w 452"/>
                <a:gd name="T37" fmla="*/ 185 h 832"/>
                <a:gd name="T38" fmla="*/ 448 w 452"/>
                <a:gd name="T39" fmla="*/ 206 h 832"/>
                <a:gd name="T40" fmla="*/ 428 w 452"/>
                <a:gd name="T41" fmla="*/ 234 h 832"/>
                <a:gd name="T42" fmla="*/ 409 w 452"/>
                <a:gd name="T43" fmla="*/ 261 h 832"/>
                <a:gd name="T44" fmla="*/ 405 w 452"/>
                <a:gd name="T45" fmla="*/ 283 h 832"/>
                <a:gd name="T46" fmla="*/ 393 w 452"/>
                <a:gd name="T47" fmla="*/ 308 h 832"/>
                <a:gd name="T48" fmla="*/ 383 w 452"/>
                <a:gd name="T49" fmla="*/ 318 h 832"/>
                <a:gd name="T50" fmla="*/ 377 w 452"/>
                <a:gd name="T51" fmla="*/ 332 h 832"/>
                <a:gd name="T52" fmla="*/ 368 w 452"/>
                <a:gd name="T53" fmla="*/ 364 h 832"/>
                <a:gd name="T54" fmla="*/ 338 w 452"/>
                <a:gd name="T55" fmla="*/ 427 h 832"/>
                <a:gd name="T56" fmla="*/ 321 w 452"/>
                <a:gd name="T57" fmla="*/ 470 h 832"/>
                <a:gd name="T58" fmla="*/ 318 w 452"/>
                <a:gd name="T59" fmla="*/ 500 h 832"/>
                <a:gd name="T60" fmla="*/ 310 w 452"/>
                <a:gd name="T61" fmla="*/ 531 h 832"/>
                <a:gd name="T62" fmla="*/ 281 w 452"/>
                <a:gd name="T63" fmla="*/ 602 h 832"/>
                <a:gd name="T64" fmla="*/ 260 w 452"/>
                <a:gd name="T65" fmla="*/ 637 h 832"/>
                <a:gd name="T66" fmla="*/ 242 w 452"/>
                <a:gd name="T67" fmla="*/ 655 h 832"/>
                <a:gd name="T68" fmla="*/ 232 w 452"/>
                <a:gd name="T69" fmla="*/ 660 h 832"/>
                <a:gd name="T70" fmla="*/ 228 w 452"/>
                <a:gd name="T71" fmla="*/ 714 h 832"/>
                <a:gd name="T72" fmla="*/ 215 w 452"/>
                <a:gd name="T73" fmla="*/ 759 h 832"/>
                <a:gd name="T74" fmla="*/ 191 w 452"/>
                <a:gd name="T75" fmla="*/ 795 h 832"/>
                <a:gd name="T76" fmla="*/ 157 w 452"/>
                <a:gd name="T77" fmla="*/ 819 h 832"/>
                <a:gd name="T78" fmla="*/ 110 w 452"/>
                <a:gd name="T79" fmla="*/ 831 h 832"/>
                <a:gd name="T80" fmla="*/ 80 w 452"/>
                <a:gd name="T81" fmla="*/ 827 h 832"/>
                <a:gd name="T82" fmla="*/ 73 w 452"/>
                <a:gd name="T83" fmla="*/ 817 h 832"/>
                <a:gd name="T84" fmla="*/ 50 w 452"/>
                <a:gd name="T85" fmla="*/ 810 h 832"/>
                <a:gd name="T86" fmla="*/ 26 w 452"/>
                <a:gd name="T87" fmla="*/ 798 h 832"/>
                <a:gd name="T88" fmla="*/ 12 w 452"/>
                <a:gd name="T89" fmla="*/ 777 h 832"/>
                <a:gd name="T90" fmla="*/ 3 w 452"/>
                <a:gd name="T91" fmla="*/ 752 h 832"/>
                <a:gd name="T92" fmla="*/ 0 w 452"/>
                <a:gd name="T93" fmla="*/ 708 h 832"/>
                <a:gd name="T94" fmla="*/ 4 w 452"/>
                <a:gd name="T95" fmla="*/ 694 h 832"/>
                <a:gd name="T96" fmla="*/ 19 w 452"/>
                <a:gd name="T97" fmla="*/ 678 h 832"/>
                <a:gd name="T98" fmla="*/ 11 w 452"/>
                <a:gd name="T99" fmla="*/ 672 h 832"/>
                <a:gd name="T100" fmla="*/ 0 w 452"/>
                <a:gd name="T101" fmla="*/ 652 h 832"/>
                <a:gd name="T102" fmla="*/ 5 w 452"/>
                <a:gd name="T103" fmla="*/ 628 h 832"/>
                <a:gd name="T104" fmla="*/ 8 w 452"/>
                <a:gd name="T105" fmla="*/ 610 h 832"/>
                <a:gd name="T106" fmla="*/ 5 w 452"/>
                <a:gd name="T107" fmla="*/ 591 h 832"/>
                <a:gd name="T108" fmla="*/ 18 w 452"/>
                <a:gd name="T109" fmla="*/ 587 h 832"/>
                <a:gd name="T110" fmla="*/ 43 w 452"/>
                <a:gd name="T111" fmla="*/ 568 h 832"/>
                <a:gd name="T112" fmla="*/ 63 w 452"/>
                <a:gd name="T113" fmla="*/ 538 h 832"/>
                <a:gd name="T114" fmla="*/ 76 w 452"/>
                <a:gd name="T115" fmla="*/ 506 h 832"/>
                <a:gd name="T116" fmla="*/ 86 w 452"/>
                <a:gd name="T117" fmla="*/ 462 h 832"/>
                <a:gd name="T118" fmla="*/ 83 w 452"/>
                <a:gd name="T119" fmla="*/ 438 h 832"/>
                <a:gd name="T120" fmla="*/ 70 w 452"/>
                <a:gd name="T121" fmla="*/ 408 h 832"/>
                <a:gd name="T122" fmla="*/ 56 w 452"/>
                <a:gd name="T123" fmla="*/ 382 h 832"/>
                <a:gd name="T124" fmla="*/ 53 w 452"/>
                <a:gd name="T125" fmla="*/ 363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86" name="Freeform 254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4743450" y="3735388"/>
              <a:ext cx="36513" cy="66675"/>
            </a:xfrm>
            <a:custGeom>
              <a:avLst/>
              <a:gdLst>
                <a:gd name="T0" fmla="*/ 80 w 80"/>
                <a:gd name="T1" fmla="*/ 2 h 126"/>
                <a:gd name="T2" fmla="*/ 80 w 80"/>
                <a:gd name="T3" fmla="*/ 101 h 126"/>
                <a:gd name="T4" fmla="*/ 78 w 80"/>
                <a:gd name="T5" fmla="*/ 104 h 126"/>
                <a:gd name="T6" fmla="*/ 75 w 80"/>
                <a:gd name="T7" fmla="*/ 107 h 126"/>
                <a:gd name="T8" fmla="*/ 70 w 80"/>
                <a:gd name="T9" fmla="*/ 109 h 126"/>
                <a:gd name="T10" fmla="*/ 67 w 80"/>
                <a:gd name="T11" fmla="*/ 111 h 126"/>
                <a:gd name="T12" fmla="*/ 58 w 80"/>
                <a:gd name="T13" fmla="*/ 114 h 126"/>
                <a:gd name="T14" fmla="*/ 48 w 80"/>
                <a:gd name="T15" fmla="*/ 116 h 126"/>
                <a:gd name="T16" fmla="*/ 36 w 80"/>
                <a:gd name="T17" fmla="*/ 117 h 126"/>
                <a:gd name="T18" fmla="*/ 25 w 80"/>
                <a:gd name="T19" fmla="*/ 119 h 126"/>
                <a:gd name="T20" fmla="*/ 13 w 80"/>
                <a:gd name="T21" fmla="*/ 123 h 126"/>
                <a:gd name="T22" fmla="*/ 0 w 80"/>
                <a:gd name="T23" fmla="*/ 126 h 126"/>
                <a:gd name="T24" fmla="*/ 7 w 80"/>
                <a:gd name="T25" fmla="*/ 40 h 126"/>
                <a:gd name="T26" fmla="*/ 23 w 80"/>
                <a:gd name="T27" fmla="*/ 27 h 126"/>
                <a:gd name="T28" fmla="*/ 41 w 80"/>
                <a:gd name="T29" fmla="*/ 12 h 126"/>
                <a:gd name="T30" fmla="*/ 51 w 80"/>
                <a:gd name="T31" fmla="*/ 5 h 126"/>
                <a:gd name="T32" fmla="*/ 60 w 80"/>
                <a:gd name="T33" fmla="*/ 1 h 126"/>
                <a:gd name="T34" fmla="*/ 65 w 80"/>
                <a:gd name="T35" fmla="*/ 0 h 126"/>
                <a:gd name="T36" fmla="*/ 70 w 80"/>
                <a:gd name="T37" fmla="*/ 0 h 126"/>
                <a:gd name="T38" fmla="*/ 75 w 80"/>
                <a:gd name="T39" fmla="*/ 1 h 126"/>
                <a:gd name="T40" fmla="*/ 80 w 80"/>
                <a:gd name="T41" fmla="*/ 2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87" name="Freeform 255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4732338" y="3695700"/>
              <a:ext cx="55562" cy="60325"/>
            </a:xfrm>
            <a:custGeom>
              <a:avLst/>
              <a:gdLst>
                <a:gd name="T0" fmla="*/ 113 w 124"/>
                <a:gd name="T1" fmla="*/ 0 h 117"/>
                <a:gd name="T2" fmla="*/ 116 w 124"/>
                <a:gd name="T3" fmla="*/ 15 h 117"/>
                <a:gd name="T4" fmla="*/ 122 w 124"/>
                <a:gd name="T5" fmla="*/ 35 h 117"/>
                <a:gd name="T6" fmla="*/ 124 w 124"/>
                <a:gd name="T7" fmla="*/ 45 h 117"/>
                <a:gd name="T8" fmla="*/ 124 w 124"/>
                <a:gd name="T9" fmla="*/ 54 h 117"/>
                <a:gd name="T10" fmla="*/ 124 w 124"/>
                <a:gd name="T11" fmla="*/ 59 h 117"/>
                <a:gd name="T12" fmla="*/ 123 w 124"/>
                <a:gd name="T13" fmla="*/ 64 h 117"/>
                <a:gd name="T14" fmla="*/ 122 w 124"/>
                <a:gd name="T15" fmla="*/ 69 h 117"/>
                <a:gd name="T16" fmla="*/ 119 w 124"/>
                <a:gd name="T17" fmla="*/ 73 h 117"/>
                <a:gd name="T18" fmla="*/ 114 w 124"/>
                <a:gd name="T19" fmla="*/ 72 h 117"/>
                <a:gd name="T20" fmla="*/ 108 w 124"/>
                <a:gd name="T21" fmla="*/ 71 h 117"/>
                <a:gd name="T22" fmla="*/ 103 w 124"/>
                <a:gd name="T23" fmla="*/ 72 h 117"/>
                <a:gd name="T24" fmla="*/ 96 w 124"/>
                <a:gd name="T25" fmla="*/ 73 h 117"/>
                <a:gd name="T26" fmla="*/ 83 w 124"/>
                <a:gd name="T27" fmla="*/ 78 h 117"/>
                <a:gd name="T28" fmla="*/ 71 w 124"/>
                <a:gd name="T29" fmla="*/ 85 h 117"/>
                <a:gd name="T30" fmla="*/ 46 w 124"/>
                <a:gd name="T31" fmla="*/ 103 h 117"/>
                <a:gd name="T32" fmla="*/ 26 w 124"/>
                <a:gd name="T33" fmla="*/ 117 h 117"/>
                <a:gd name="T34" fmla="*/ 23 w 124"/>
                <a:gd name="T35" fmla="*/ 112 h 117"/>
                <a:gd name="T36" fmla="*/ 13 w 124"/>
                <a:gd name="T37" fmla="*/ 101 h 117"/>
                <a:gd name="T38" fmla="*/ 4 w 124"/>
                <a:gd name="T39" fmla="*/ 89 h 117"/>
                <a:gd name="T40" fmla="*/ 0 w 124"/>
                <a:gd name="T41" fmla="*/ 79 h 117"/>
                <a:gd name="T42" fmla="*/ 1 w 124"/>
                <a:gd name="T43" fmla="*/ 76 h 117"/>
                <a:gd name="T44" fmla="*/ 2 w 124"/>
                <a:gd name="T45" fmla="*/ 72 h 117"/>
                <a:gd name="T46" fmla="*/ 5 w 124"/>
                <a:gd name="T47" fmla="*/ 67 h 117"/>
                <a:gd name="T48" fmla="*/ 9 w 124"/>
                <a:gd name="T49" fmla="*/ 62 h 117"/>
                <a:gd name="T50" fmla="*/ 17 w 124"/>
                <a:gd name="T51" fmla="*/ 52 h 117"/>
                <a:gd name="T52" fmla="*/ 27 w 124"/>
                <a:gd name="T53" fmla="*/ 42 h 117"/>
                <a:gd name="T54" fmla="*/ 48 w 124"/>
                <a:gd name="T55" fmla="*/ 22 h 117"/>
                <a:gd name="T56" fmla="*/ 60 w 124"/>
                <a:gd name="T57" fmla="*/ 12 h 117"/>
                <a:gd name="T58" fmla="*/ 73 w 124"/>
                <a:gd name="T59" fmla="*/ 12 h 117"/>
                <a:gd name="T60" fmla="*/ 86 w 124"/>
                <a:gd name="T61" fmla="*/ 12 h 117"/>
                <a:gd name="T62" fmla="*/ 100 w 124"/>
                <a:gd name="T63" fmla="*/ 6 h 117"/>
                <a:gd name="T64" fmla="*/ 113 w 124"/>
                <a:gd name="T6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88" name="Freeform 256"/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5041900" y="2395538"/>
              <a:ext cx="503238" cy="473075"/>
            </a:xfrm>
            <a:custGeom>
              <a:avLst/>
              <a:gdLst>
                <a:gd name="T0" fmla="*/ 928 w 1156"/>
                <a:gd name="T1" fmla="*/ 191 h 900"/>
                <a:gd name="T2" fmla="*/ 859 w 1156"/>
                <a:gd name="T3" fmla="*/ 162 h 900"/>
                <a:gd name="T4" fmla="*/ 773 w 1156"/>
                <a:gd name="T5" fmla="*/ 111 h 900"/>
                <a:gd name="T6" fmla="*/ 617 w 1156"/>
                <a:gd name="T7" fmla="*/ 104 h 900"/>
                <a:gd name="T8" fmla="*/ 551 w 1156"/>
                <a:gd name="T9" fmla="*/ 154 h 900"/>
                <a:gd name="T10" fmla="*/ 504 w 1156"/>
                <a:gd name="T11" fmla="*/ 179 h 900"/>
                <a:gd name="T12" fmla="*/ 426 w 1156"/>
                <a:gd name="T13" fmla="*/ 197 h 900"/>
                <a:gd name="T14" fmla="*/ 383 w 1156"/>
                <a:gd name="T15" fmla="*/ 199 h 900"/>
                <a:gd name="T16" fmla="*/ 355 w 1156"/>
                <a:gd name="T17" fmla="*/ 173 h 900"/>
                <a:gd name="T18" fmla="*/ 260 w 1156"/>
                <a:gd name="T19" fmla="*/ 136 h 900"/>
                <a:gd name="T20" fmla="*/ 228 w 1156"/>
                <a:gd name="T21" fmla="*/ 86 h 900"/>
                <a:gd name="T22" fmla="*/ 220 w 1156"/>
                <a:gd name="T23" fmla="*/ 23 h 900"/>
                <a:gd name="T24" fmla="*/ 188 w 1156"/>
                <a:gd name="T25" fmla="*/ 1 h 900"/>
                <a:gd name="T26" fmla="*/ 155 w 1156"/>
                <a:gd name="T27" fmla="*/ 21 h 900"/>
                <a:gd name="T28" fmla="*/ 136 w 1156"/>
                <a:gd name="T29" fmla="*/ 67 h 900"/>
                <a:gd name="T30" fmla="*/ 79 w 1156"/>
                <a:gd name="T31" fmla="*/ 54 h 900"/>
                <a:gd name="T32" fmla="*/ 4 w 1156"/>
                <a:gd name="T33" fmla="*/ 16 h 900"/>
                <a:gd name="T34" fmla="*/ 5 w 1156"/>
                <a:gd name="T35" fmla="*/ 72 h 900"/>
                <a:gd name="T36" fmla="*/ 45 w 1156"/>
                <a:gd name="T37" fmla="*/ 146 h 900"/>
                <a:gd name="T38" fmla="*/ 73 w 1156"/>
                <a:gd name="T39" fmla="*/ 205 h 900"/>
                <a:gd name="T40" fmla="*/ 135 w 1156"/>
                <a:gd name="T41" fmla="*/ 284 h 900"/>
                <a:gd name="T42" fmla="*/ 122 w 1156"/>
                <a:gd name="T43" fmla="*/ 316 h 900"/>
                <a:gd name="T44" fmla="*/ 133 w 1156"/>
                <a:gd name="T45" fmla="*/ 370 h 900"/>
                <a:gd name="T46" fmla="*/ 188 w 1156"/>
                <a:gd name="T47" fmla="*/ 428 h 900"/>
                <a:gd name="T48" fmla="*/ 259 w 1156"/>
                <a:gd name="T49" fmla="*/ 456 h 900"/>
                <a:gd name="T50" fmla="*/ 259 w 1156"/>
                <a:gd name="T51" fmla="*/ 524 h 900"/>
                <a:gd name="T52" fmla="*/ 335 w 1156"/>
                <a:gd name="T53" fmla="*/ 581 h 900"/>
                <a:gd name="T54" fmla="*/ 423 w 1156"/>
                <a:gd name="T55" fmla="*/ 664 h 900"/>
                <a:gd name="T56" fmla="*/ 471 w 1156"/>
                <a:gd name="T57" fmla="*/ 720 h 900"/>
                <a:gd name="T58" fmla="*/ 504 w 1156"/>
                <a:gd name="T59" fmla="*/ 733 h 900"/>
                <a:gd name="T60" fmla="*/ 542 w 1156"/>
                <a:gd name="T61" fmla="*/ 755 h 900"/>
                <a:gd name="T62" fmla="*/ 598 w 1156"/>
                <a:gd name="T63" fmla="*/ 787 h 900"/>
                <a:gd name="T64" fmla="*/ 685 w 1156"/>
                <a:gd name="T65" fmla="*/ 795 h 900"/>
                <a:gd name="T66" fmla="*/ 732 w 1156"/>
                <a:gd name="T67" fmla="*/ 780 h 900"/>
                <a:gd name="T68" fmla="*/ 779 w 1156"/>
                <a:gd name="T69" fmla="*/ 764 h 900"/>
                <a:gd name="T70" fmla="*/ 801 w 1156"/>
                <a:gd name="T71" fmla="*/ 796 h 900"/>
                <a:gd name="T72" fmla="*/ 813 w 1156"/>
                <a:gd name="T73" fmla="*/ 857 h 900"/>
                <a:gd name="T74" fmla="*/ 874 w 1156"/>
                <a:gd name="T75" fmla="*/ 874 h 900"/>
                <a:gd name="T76" fmla="*/ 1011 w 1156"/>
                <a:gd name="T77" fmla="*/ 892 h 900"/>
                <a:gd name="T78" fmla="*/ 1091 w 1156"/>
                <a:gd name="T79" fmla="*/ 879 h 900"/>
                <a:gd name="T80" fmla="*/ 1099 w 1156"/>
                <a:gd name="T81" fmla="*/ 831 h 900"/>
                <a:gd name="T82" fmla="*/ 1156 w 1156"/>
                <a:gd name="T83" fmla="*/ 770 h 900"/>
                <a:gd name="T84" fmla="*/ 1132 w 1156"/>
                <a:gd name="T85" fmla="*/ 750 h 900"/>
                <a:gd name="T86" fmla="*/ 1096 w 1156"/>
                <a:gd name="T87" fmla="*/ 708 h 900"/>
                <a:gd name="T88" fmla="*/ 1031 w 1156"/>
                <a:gd name="T89" fmla="*/ 643 h 900"/>
                <a:gd name="T90" fmla="*/ 1018 w 1156"/>
                <a:gd name="T91" fmla="*/ 603 h 900"/>
                <a:gd name="T92" fmla="*/ 1044 w 1156"/>
                <a:gd name="T93" fmla="*/ 559 h 900"/>
                <a:gd name="T94" fmla="*/ 1048 w 1156"/>
                <a:gd name="T95" fmla="*/ 526 h 900"/>
                <a:gd name="T96" fmla="*/ 1030 w 1156"/>
                <a:gd name="T97" fmla="*/ 512 h 900"/>
                <a:gd name="T98" fmla="*/ 983 w 1156"/>
                <a:gd name="T99" fmla="*/ 507 h 900"/>
                <a:gd name="T100" fmla="*/ 954 w 1156"/>
                <a:gd name="T101" fmla="*/ 453 h 900"/>
                <a:gd name="T102" fmla="*/ 937 w 1156"/>
                <a:gd name="T103" fmla="*/ 373 h 900"/>
                <a:gd name="T104" fmla="*/ 924 w 1156"/>
                <a:gd name="T105" fmla="*/ 357 h 900"/>
                <a:gd name="T106" fmla="*/ 940 w 1156"/>
                <a:gd name="T107" fmla="*/ 334 h 900"/>
                <a:gd name="T108" fmla="*/ 960 w 1156"/>
                <a:gd name="T109" fmla="*/ 293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89" name="Freeform 257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5065713" y="3052763"/>
              <a:ext cx="247650" cy="228600"/>
            </a:xfrm>
            <a:custGeom>
              <a:avLst/>
              <a:gdLst>
                <a:gd name="T0" fmla="*/ 26 w 571"/>
                <a:gd name="T1" fmla="*/ 190 h 443"/>
                <a:gd name="T2" fmla="*/ 37 w 571"/>
                <a:gd name="T3" fmla="*/ 177 h 443"/>
                <a:gd name="T4" fmla="*/ 41 w 571"/>
                <a:gd name="T5" fmla="*/ 164 h 443"/>
                <a:gd name="T6" fmla="*/ 39 w 571"/>
                <a:gd name="T7" fmla="*/ 129 h 443"/>
                <a:gd name="T8" fmla="*/ 44 w 571"/>
                <a:gd name="T9" fmla="*/ 120 h 443"/>
                <a:gd name="T10" fmla="*/ 55 w 571"/>
                <a:gd name="T11" fmla="*/ 112 h 443"/>
                <a:gd name="T12" fmla="*/ 68 w 571"/>
                <a:gd name="T13" fmla="*/ 107 h 443"/>
                <a:gd name="T14" fmla="*/ 80 w 571"/>
                <a:gd name="T15" fmla="*/ 104 h 443"/>
                <a:gd name="T16" fmla="*/ 103 w 571"/>
                <a:gd name="T17" fmla="*/ 106 h 443"/>
                <a:gd name="T18" fmla="*/ 124 w 571"/>
                <a:gd name="T19" fmla="*/ 109 h 443"/>
                <a:gd name="T20" fmla="*/ 158 w 571"/>
                <a:gd name="T21" fmla="*/ 120 h 443"/>
                <a:gd name="T22" fmla="*/ 184 w 571"/>
                <a:gd name="T23" fmla="*/ 135 h 443"/>
                <a:gd name="T24" fmla="*/ 206 w 571"/>
                <a:gd name="T25" fmla="*/ 154 h 443"/>
                <a:gd name="T26" fmla="*/ 254 w 571"/>
                <a:gd name="T27" fmla="*/ 92 h 443"/>
                <a:gd name="T28" fmla="*/ 285 w 571"/>
                <a:gd name="T29" fmla="*/ 49 h 443"/>
                <a:gd name="T30" fmla="*/ 538 w 571"/>
                <a:gd name="T31" fmla="*/ 43 h 443"/>
                <a:gd name="T32" fmla="*/ 557 w 571"/>
                <a:gd name="T33" fmla="*/ 78 h 443"/>
                <a:gd name="T34" fmla="*/ 562 w 571"/>
                <a:gd name="T35" fmla="*/ 98 h 443"/>
                <a:gd name="T36" fmla="*/ 564 w 571"/>
                <a:gd name="T37" fmla="*/ 123 h 443"/>
                <a:gd name="T38" fmla="*/ 568 w 571"/>
                <a:gd name="T39" fmla="*/ 151 h 443"/>
                <a:gd name="T40" fmla="*/ 571 w 571"/>
                <a:gd name="T41" fmla="*/ 178 h 443"/>
                <a:gd name="T42" fmla="*/ 564 w 571"/>
                <a:gd name="T43" fmla="*/ 180 h 443"/>
                <a:gd name="T44" fmla="*/ 562 w 571"/>
                <a:gd name="T45" fmla="*/ 179 h 443"/>
                <a:gd name="T46" fmla="*/ 558 w 571"/>
                <a:gd name="T47" fmla="*/ 184 h 443"/>
                <a:gd name="T48" fmla="*/ 548 w 571"/>
                <a:gd name="T49" fmla="*/ 207 h 443"/>
                <a:gd name="T50" fmla="*/ 534 w 571"/>
                <a:gd name="T51" fmla="*/ 225 h 443"/>
                <a:gd name="T52" fmla="*/ 515 w 571"/>
                <a:gd name="T53" fmla="*/ 239 h 443"/>
                <a:gd name="T54" fmla="*/ 494 w 571"/>
                <a:gd name="T55" fmla="*/ 249 h 443"/>
                <a:gd name="T56" fmla="*/ 405 w 571"/>
                <a:gd name="T57" fmla="*/ 283 h 443"/>
                <a:gd name="T58" fmla="*/ 347 w 571"/>
                <a:gd name="T59" fmla="*/ 307 h 443"/>
                <a:gd name="T60" fmla="*/ 295 w 571"/>
                <a:gd name="T61" fmla="*/ 328 h 443"/>
                <a:gd name="T62" fmla="*/ 245 w 571"/>
                <a:gd name="T63" fmla="*/ 345 h 443"/>
                <a:gd name="T64" fmla="*/ 186 w 571"/>
                <a:gd name="T65" fmla="*/ 363 h 443"/>
                <a:gd name="T66" fmla="*/ 167 w 571"/>
                <a:gd name="T67" fmla="*/ 371 h 443"/>
                <a:gd name="T68" fmla="*/ 149 w 571"/>
                <a:gd name="T69" fmla="*/ 381 h 443"/>
                <a:gd name="T70" fmla="*/ 119 w 571"/>
                <a:gd name="T71" fmla="*/ 403 h 443"/>
                <a:gd name="T72" fmla="*/ 92 w 571"/>
                <a:gd name="T73" fmla="*/ 426 h 443"/>
                <a:gd name="T74" fmla="*/ 67 w 571"/>
                <a:gd name="T75" fmla="*/ 443 h 443"/>
                <a:gd name="T76" fmla="*/ 50 w 571"/>
                <a:gd name="T77" fmla="*/ 378 h 443"/>
                <a:gd name="T78" fmla="*/ 33 w 571"/>
                <a:gd name="T79" fmla="*/ 313 h 443"/>
                <a:gd name="T80" fmla="*/ 16 w 571"/>
                <a:gd name="T81" fmla="*/ 251 h 443"/>
                <a:gd name="T82" fmla="*/ 0 w 571"/>
                <a:gd name="T83" fmla="*/ 196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90" name="Freeform 258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5260975" y="2827338"/>
              <a:ext cx="120650" cy="120650"/>
            </a:xfrm>
            <a:custGeom>
              <a:avLst/>
              <a:gdLst>
                <a:gd name="T0" fmla="*/ 0 w 286"/>
                <a:gd name="T1" fmla="*/ 111 h 228"/>
                <a:gd name="T2" fmla="*/ 4 w 286"/>
                <a:gd name="T3" fmla="*/ 109 h 228"/>
                <a:gd name="T4" fmla="*/ 7 w 286"/>
                <a:gd name="T5" fmla="*/ 109 h 228"/>
                <a:gd name="T6" fmla="*/ 10 w 286"/>
                <a:gd name="T7" fmla="*/ 110 h 228"/>
                <a:gd name="T8" fmla="*/ 11 w 286"/>
                <a:gd name="T9" fmla="*/ 111 h 228"/>
                <a:gd name="T10" fmla="*/ 12 w 286"/>
                <a:gd name="T11" fmla="*/ 117 h 228"/>
                <a:gd name="T12" fmla="*/ 13 w 286"/>
                <a:gd name="T13" fmla="*/ 123 h 228"/>
                <a:gd name="T14" fmla="*/ 14 w 286"/>
                <a:gd name="T15" fmla="*/ 128 h 228"/>
                <a:gd name="T16" fmla="*/ 16 w 286"/>
                <a:gd name="T17" fmla="*/ 131 h 228"/>
                <a:gd name="T18" fmla="*/ 19 w 286"/>
                <a:gd name="T19" fmla="*/ 134 h 228"/>
                <a:gd name="T20" fmla="*/ 24 w 286"/>
                <a:gd name="T21" fmla="*/ 136 h 228"/>
                <a:gd name="T22" fmla="*/ 29 w 286"/>
                <a:gd name="T23" fmla="*/ 137 h 228"/>
                <a:gd name="T24" fmla="*/ 37 w 286"/>
                <a:gd name="T25" fmla="*/ 138 h 228"/>
                <a:gd name="T26" fmla="*/ 48 w 286"/>
                <a:gd name="T27" fmla="*/ 138 h 228"/>
                <a:gd name="T28" fmla="*/ 60 w 286"/>
                <a:gd name="T29" fmla="*/ 136 h 228"/>
                <a:gd name="T30" fmla="*/ 98 w 286"/>
                <a:gd name="T31" fmla="*/ 130 h 228"/>
                <a:gd name="T32" fmla="*/ 129 w 286"/>
                <a:gd name="T33" fmla="*/ 122 h 228"/>
                <a:gd name="T34" fmla="*/ 143 w 286"/>
                <a:gd name="T35" fmla="*/ 118 h 228"/>
                <a:gd name="T36" fmla="*/ 156 w 286"/>
                <a:gd name="T37" fmla="*/ 114 h 228"/>
                <a:gd name="T38" fmla="*/ 167 w 286"/>
                <a:gd name="T39" fmla="*/ 109 h 228"/>
                <a:gd name="T40" fmla="*/ 178 w 286"/>
                <a:gd name="T41" fmla="*/ 103 h 228"/>
                <a:gd name="T42" fmla="*/ 188 w 286"/>
                <a:gd name="T43" fmla="*/ 96 h 228"/>
                <a:gd name="T44" fmla="*/ 198 w 286"/>
                <a:gd name="T45" fmla="*/ 87 h 228"/>
                <a:gd name="T46" fmla="*/ 208 w 286"/>
                <a:gd name="T47" fmla="*/ 78 h 228"/>
                <a:gd name="T48" fmla="*/ 219 w 286"/>
                <a:gd name="T49" fmla="*/ 65 h 228"/>
                <a:gd name="T50" fmla="*/ 229 w 286"/>
                <a:gd name="T51" fmla="*/ 52 h 228"/>
                <a:gd name="T52" fmla="*/ 241 w 286"/>
                <a:gd name="T53" fmla="*/ 37 h 228"/>
                <a:gd name="T54" fmla="*/ 253 w 286"/>
                <a:gd name="T55" fmla="*/ 20 h 228"/>
                <a:gd name="T56" fmla="*/ 266 w 286"/>
                <a:gd name="T57" fmla="*/ 0 h 228"/>
                <a:gd name="T58" fmla="*/ 270 w 286"/>
                <a:gd name="T59" fmla="*/ 7 h 228"/>
                <a:gd name="T60" fmla="*/ 274 w 286"/>
                <a:gd name="T61" fmla="*/ 13 h 228"/>
                <a:gd name="T62" fmla="*/ 276 w 286"/>
                <a:gd name="T63" fmla="*/ 20 h 228"/>
                <a:gd name="T64" fmla="*/ 279 w 286"/>
                <a:gd name="T65" fmla="*/ 27 h 228"/>
                <a:gd name="T66" fmla="*/ 282 w 286"/>
                <a:gd name="T67" fmla="*/ 42 h 228"/>
                <a:gd name="T68" fmla="*/ 286 w 286"/>
                <a:gd name="T69" fmla="*/ 62 h 228"/>
                <a:gd name="T70" fmla="*/ 246 w 286"/>
                <a:gd name="T71" fmla="*/ 198 h 228"/>
                <a:gd name="T72" fmla="*/ 226 w 286"/>
                <a:gd name="T73" fmla="*/ 228 h 228"/>
                <a:gd name="T74" fmla="*/ 53 w 286"/>
                <a:gd name="T75" fmla="*/ 210 h 228"/>
                <a:gd name="T76" fmla="*/ 0 w 286"/>
                <a:gd name="T77" fmla="*/ 111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91" name="Freeform 259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4948238" y="2479675"/>
              <a:ext cx="222250" cy="263525"/>
            </a:xfrm>
            <a:custGeom>
              <a:avLst/>
              <a:gdLst>
                <a:gd name="T0" fmla="*/ 478 w 524"/>
                <a:gd name="T1" fmla="*/ 370 h 505"/>
                <a:gd name="T2" fmla="*/ 484 w 524"/>
                <a:gd name="T3" fmla="*/ 346 h 505"/>
                <a:gd name="T4" fmla="*/ 483 w 524"/>
                <a:gd name="T5" fmla="*/ 329 h 505"/>
                <a:gd name="T6" fmla="*/ 478 w 524"/>
                <a:gd name="T7" fmla="*/ 302 h 505"/>
                <a:gd name="T8" fmla="*/ 455 w 524"/>
                <a:gd name="T9" fmla="*/ 299 h 505"/>
                <a:gd name="T10" fmla="*/ 431 w 524"/>
                <a:gd name="T11" fmla="*/ 288 h 505"/>
                <a:gd name="T12" fmla="*/ 407 w 524"/>
                <a:gd name="T13" fmla="*/ 274 h 505"/>
                <a:gd name="T14" fmla="*/ 386 w 524"/>
                <a:gd name="T15" fmla="*/ 256 h 505"/>
                <a:gd name="T16" fmla="*/ 366 w 524"/>
                <a:gd name="T17" fmla="*/ 237 h 505"/>
                <a:gd name="T18" fmla="*/ 352 w 524"/>
                <a:gd name="T19" fmla="*/ 216 h 505"/>
                <a:gd name="T20" fmla="*/ 342 w 524"/>
                <a:gd name="T21" fmla="*/ 196 h 505"/>
                <a:gd name="T22" fmla="*/ 339 w 524"/>
                <a:gd name="T23" fmla="*/ 178 h 505"/>
                <a:gd name="T24" fmla="*/ 341 w 524"/>
                <a:gd name="T25" fmla="*/ 162 h 505"/>
                <a:gd name="T26" fmla="*/ 349 w 524"/>
                <a:gd name="T27" fmla="*/ 150 h 505"/>
                <a:gd name="T28" fmla="*/ 365 w 524"/>
                <a:gd name="T29" fmla="*/ 136 h 505"/>
                <a:gd name="T30" fmla="*/ 354 w 524"/>
                <a:gd name="T31" fmla="*/ 130 h 505"/>
                <a:gd name="T32" fmla="*/ 341 w 524"/>
                <a:gd name="T33" fmla="*/ 119 h 505"/>
                <a:gd name="T34" fmla="*/ 315 w 524"/>
                <a:gd name="T35" fmla="*/ 87 h 505"/>
                <a:gd name="T36" fmla="*/ 292 w 524"/>
                <a:gd name="T37" fmla="*/ 51 h 505"/>
                <a:gd name="T38" fmla="*/ 279 w 524"/>
                <a:gd name="T39" fmla="*/ 25 h 505"/>
                <a:gd name="T40" fmla="*/ 260 w 524"/>
                <a:gd name="T41" fmla="*/ 24 h 505"/>
                <a:gd name="T42" fmla="*/ 239 w 524"/>
                <a:gd name="T43" fmla="*/ 19 h 505"/>
                <a:gd name="T44" fmla="*/ 219 w 524"/>
                <a:gd name="T45" fmla="*/ 11 h 505"/>
                <a:gd name="T46" fmla="*/ 197 w 524"/>
                <a:gd name="T47" fmla="*/ 6 h 505"/>
                <a:gd name="T48" fmla="*/ 170 w 524"/>
                <a:gd name="T49" fmla="*/ 3 h 505"/>
                <a:gd name="T50" fmla="*/ 149 w 524"/>
                <a:gd name="T51" fmla="*/ 8 h 505"/>
                <a:gd name="T52" fmla="*/ 114 w 524"/>
                <a:gd name="T53" fmla="*/ 41 h 505"/>
                <a:gd name="T54" fmla="*/ 98 w 524"/>
                <a:gd name="T55" fmla="*/ 57 h 505"/>
                <a:gd name="T56" fmla="*/ 93 w 524"/>
                <a:gd name="T57" fmla="*/ 64 h 505"/>
                <a:gd name="T58" fmla="*/ 94 w 524"/>
                <a:gd name="T59" fmla="*/ 94 h 505"/>
                <a:gd name="T60" fmla="*/ 95 w 524"/>
                <a:gd name="T61" fmla="*/ 140 h 505"/>
                <a:gd name="T62" fmla="*/ 94 w 524"/>
                <a:gd name="T63" fmla="*/ 164 h 505"/>
                <a:gd name="T64" fmla="*/ 86 w 524"/>
                <a:gd name="T65" fmla="*/ 180 h 505"/>
                <a:gd name="T66" fmla="*/ 67 w 524"/>
                <a:gd name="T67" fmla="*/ 197 h 505"/>
                <a:gd name="T68" fmla="*/ 40 w 524"/>
                <a:gd name="T69" fmla="*/ 214 h 505"/>
                <a:gd name="T70" fmla="*/ 13 w 524"/>
                <a:gd name="T71" fmla="*/ 228 h 505"/>
                <a:gd name="T72" fmla="*/ 2 w 524"/>
                <a:gd name="T73" fmla="*/ 246 h 505"/>
                <a:gd name="T74" fmla="*/ 2 w 524"/>
                <a:gd name="T75" fmla="*/ 264 h 505"/>
                <a:gd name="T76" fmla="*/ 0 w 524"/>
                <a:gd name="T77" fmla="*/ 278 h 505"/>
                <a:gd name="T78" fmla="*/ 0 w 524"/>
                <a:gd name="T79" fmla="*/ 289 h 505"/>
                <a:gd name="T80" fmla="*/ 7 w 524"/>
                <a:gd name="T81" fmla="*/ 301 h 505"/>
                <a:gd name="T82" fmla="*/ 26 w 524"/>
                <a:gd name="T83" fmla="*/ 314 h 505"/>
                <a:gd name="T84" fmla="*/ 62 w 524"/>
                <a:gd name="T85" fmla="*/ 331 h 505"/>
                <a:gd name="T86" fmla="*/ 120 w 524"/>
                <a:gd name="T87" fmla="*/ 355 h 505"/>
                <a:gd name="T88" fmla="*/ 180 w 524"/>
                <a:gd name="T89" fmla="*/ 374 h 505"/>
                <a:gd name="T90" fmla="*/ 214 w 524"/>
                <a:gd name="T91" fmla="*/ 385 h 505"/>
                <a:gd name="T92" fmla="*/ 237 w 524"/>
                <a:gd name="T93" fmla="*/ 400 h 505"/>
                <a:gd name="T94" fmla="*/ 252 w 524"/>
                <a:gd name="T95" fmla="*/ 418 h 505"/>
                <a:gd name="T96" fmla="*/ 262 w 524"/>
                <a:gd name="T97" fmla="*/ 435 h 505"/>
                <a:gd name="T98" fmla="*/ 266 w 524"/>
                <a:gd name="T99" fmla="*/ 451 h 505"/>
                <a:gd name="T100" fmla="*/ 270 w 524"/>
                <a:gd name="T101" fmla="*/ 469 h 505"/>
                <a:gd name="T102" fmla="*/ 277 w 524"/>
                <a:gd name="T103" fmla="*/ 481 h 505"/>
                <a:gd name="T104" fmla="*/ 287 w 524"/>
                <a:gd name="T105" fmla="*/ 489 h 505"/>
                <a:gd name="T106" fmla="*/ 307 w 524"/>
                <a:gd name="T107" fmla="*/ 497 h 505"/>
                <a:gd name="T108" fmla="*/ 328 w 524"/>
                <a:gd name="T109" fmla="*/ 503 h 505"/>
                <a:gd name="T110" fmla="*/ 335 w 524"/>
                <a:gd name="T111" fmla="*/ 500 h 505"/>
                <a:gd name="T112" fmla="*/ 346 w 524"/>
                <a:gd name="T113" fmla="*/ 499 h 505"/>
                <a:gd name="T114" fmla="*/ 366 w 524"/>
                <a:gd name="T115" fmla="*/ 503 h 505"/>
                <a:gd name="T116" fmla="*/ 383 w 524"/>
                <a:gd name="T117" fmla="*/ 505 h 505"/>
                <a:gd name="T118" fmla="*/ 437 w 524"/>
                <a:gd name="T119" fmla="*/ 505 h 505"/>
                <a:gd name="T120" fmla="*/ 465 w 524"/>
                <a:gd name="T121" fmla="*/ 449 h 505"/>
                <a:gd name="T122" fmla="*/ 492 w 524"/>
                <a:gd name="T123" fmla="*/ 437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92" name="Freeform 260"/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5448300" y="2439988"/>
              <a:ext cx="331788" cy="290512"/>
            </a:xfrm>
            <a:custGeom>
              <a:avLst/>
              <a:gdLst>
                <a:gd name="T0" fmla="*/ 62 w 764"/>
                <a:gd name="T1" fmla="*/ 196 h 555"/>
                <a:gd name="T2" fmla="*/ 93 w 764"/>
                <a:gd name="T3" fmla="*/ 190 h 555"/>
                <a:gd name="T4" fmla="*/ 128 w 764"/>
                <a:gd name="T5" fmla="*/ 182 h 555"/>
                <a:gd name="T6" fmla="*/ 175 w 764"/>
                <a:gd name="T7" fmla="*/ 151 h 555"/>
                <a:gd name="T8" fmla="*/ 194 w 764"/>
                <a:gd name="T9" fmla="*/ 126 h 555"/>
                <a:gd name="T10" fmla="*/ 199 w 764"/>
                <a:gd name="T11" fmla="*/ 88 h 555"/>
                <a:gd name="T12" fmla="*/ 208 w 764"/>
                <a:gd name="T13" fmla="*/ 69 h 555"/>
                <a:gd name="T14" fmla="*/ 240 w 764"/>
                <a:gd name="T15" fmla="*/ 60 h 555"/>
                <a:gd name="T16" fmla="*/ 294 w 764"/>
                <a:gd name="T17" fmla="*/ 62 h 555"/>
                <a:gd name="T18" fmla="*/ 329 w 764"/>
                <a:gd name="T19" fmla="*/ 71 h 555"/>
                <a:gd name="T20" fmla="*/ 362 w 764"/>
                <a:gd name="T21" fmla="*/ 90 h 555"/>
                <a:gd name="T22" fmla="*/ 386 w 764"/>
                <a:gd name="T23" fmla="*/ 93 h 555"/>
                <a:gd name="T24" fmla="*/ 419 w 764"/>
                <a:gd name="T25" fmla="*/ 84 h 555"/>
                <a:gd name="T26" fmla="*/ 460 w 764"/>
                <a:gd name="T27" fmla="*/ 61 h 555"/>
                <a:gd name="T28" fmla="*/ 479 w 764"/>
                <a:gd name="T29" fmla="*/ 33 h 555"/>
                <a:gd name="T30" fmla="*/ 508 w 764"/>
                <a:gd name="T31" fmla="*/ 4 h 555"/>
                <a:gd name="T32" fmla="*/ 530 w 764"/>
                <a:gd name="T33" fmla="*/ 19 h 555"/>
                <a:gd name="T34" fmla="*/ 550 w 764"/>
                <a:gd name="T35" fmla="*/ 45 h 555"/>
                <a:gd name="T36" fmla="*/ 561 w 764"/>
                <a:gd name="T37" fmla="*/ 87 h 555"/>
                <a:gd name="T38" fmla="*/ 570 w 764"/>
                <a:gd name="T39" fmla="*/ 101 h 555"/>
                <a:gd name="T40" fmla="*/ 589 w 764"/>
                <a:gd name="T41" fmla="*/ 104 h 555"/>
                <a:gd name="T42" fmla="*/ 622 w 764"/>
                <a:gd name="T43" fmla="*/ 73 h 555"/>
                <a:gd name="T44" fmla="*/ 743 w 764"/>
                <a:gd name="T45" fmla="*/ 66 h 555"/>
                <a:gd name="T46" fmla="*/ 759 w 764"/>
                <a:gd name="T47" fmla="*/ 87 h 555"/>
                <a:gd name="T48" fmla="*/ 679 w 764"/>
                <a:gd name="T49" fmla="*/ 100 h 555"/>
                <a:gd name="T50" fmla="*/ 605 w 764"/>
                <a:gd name="T51" fmla="*/ 112 h 555"/>
                <a:gd name="T52" fmla="*/ 574 w 764"/>
                <a:gd name="T53" fmla="*/ 130 h 555"/>
                <a:gd name="T54" fmla="*/ 571 w 764"/>
                <a:gd name="T55" fmla="*/ 147 h 555"/>
                <a:gd name="T56" fmla="*/ 582 w 764"/>
                <a:gd name="T57" fmla="*/ 164 h 555"/>
                <a:gd name="T58" fmla="*/ 601 w 764"/>
                <a:gd name="T59" fmla="*/ 180 h 555"/>
                <a:gd name="T60" fmla="*/ 604 w 764"/>
                <a:gd name="T61" fmla="*/ 195 h 555"/>
                <a:gd name="T62" fmla="*/ 594 w 764"/>
                <a:gd name="T63" fmla="*/ 213 h 555"/>
                <a:gd name="T64" fmla="*/ 574 w 764"/>
                <a:gd name="T65" fmla="*/ 237 h 555"/>
                <a:gd name="T66" fmla="*/ 565 w 764"/>
                <a:gd name="T67" fmla="*/ 255 h 555"/>
                <a:gd name="T68" fmla="*/ 542 w 764"/>
                <a:gd name="T69" fmla="*/ 269 h 555"/>
                <a:gd name="T70" fmla="*/ 519 w 764"/>
                <a:gd name="T71" fmla="*/ 310 h 555"/>
                <a:gd name="T72" fmla="*/ 508 w 764"/>
                <a:gd name="T73" fmla="*/ 363 h 555"/>
                <a:gd name="T74" fmla="*/ 497 w 764"/>
                <a:gd name="T75" fmla="*/ 425 h 555"/>
                <a:gd name="T76" fmla="*/ 477 w 764"/>
                <a:gd name="T77" fmla="*/ 412 h 555"/>
                <a:gd name="T78" fmla="*/ 460 w 764"/>
                <a:gd name="T79" fmla="*/ 407 h 555"/>
                <a:gd name="T80" fmla="*/ 439 w 764"/>
                <a:gd name="T81" fmla="*/ 418 h 555"/>
                <a:gd name="T82" fmla="*/ 411 w 764"/>
                <a:gd name="T83" fmla="*/ 440 h 555"/>
                <a:gd name="T84" fmla="*/ 393 w 764"/>
                <a:gd name="T85" fmla="*/ 444 h 555"/>
                <a:gd name="T86" fmla="*/ 375 w 764"/>
                <a:gd name="T87" fmla="*/ 463 h 555"/>
                <a:gd name="T88" fmla="*/ 365 w 764"/>
                <a:gd name="T89" fmla="*/ 511 h 555"/>
                <a:gd name="T90" fmla="*/ 350 w 764"/>
                <a:gd name="T91" fmla="*/ 525 h 555"/>
                <a:gd name="T92" fmla="*/ 270 w 764"/>
                <a:gd name="T93" fmla="*/ 546 h 555"/>
                <a:gd name="T94" fmla="*/ 194 w 764"/>
                <a:gd name="T95" fmla="*/ 554 h 555"/>
                <a:gd name="T96" fmla="*/ 113 w 764"/>
                <a:gd name="T97" fmla="*/ 542 h 555"/>
                <a:gd name="T98" fmla="*/ 95 w 764"/>
                <a:gd name="T99" fmla="*/ 518 h 555"/>
                <a:gd name="T100" fmla="*/ 115 w 764"/>
                <a:gd name="T101" fmla="*/ 488 h 555"/>
                <a:gd name="T102" fmla="*/ 125 w 764"/>
                <a:gd name="T103" fmla="*/ 462 h 555"/>
                <a:gd name="T104" fmla="*/ 123 w 764"/>
                <a:gd name="T105" fmla="*/ 442 h 555"/>
                <a:gd name="T106" fmla="*/ 111 w 764"/>
                <a:gd name="T107" fmla="*/ 433 h 555"/>
                <a:gd name="T108" fmla="*/ 69 w 764"/>
                <a:gd name="T109" fmla="*/ 431 h 555"/>
                <a:gd name="T110" fmla="*/ 52 w 764"/>
                <a:gd name="T111" fmla="*/ 421 h 555"/>
                <a:gd name="T112" fmla="*/ 34 w 764"/>
                <a:gd name="T113" fmla="*/ 384 h 555"/>
                <a:gd name="T114" fmla="*/ 19 w 764"/>
                <a:gd name="T115" fmla="*/ 309 h 555"/>
                <a:gd name="T116" fmla="*/ 10 w 764"/>
                <a:gd name="T117" fmla="*/ 291 h 555"/>
                <a:gd name="T118" fmla="*/ 0 w 764"/>
                <a:gd name="T119" fmla="*/ 280 h 555"/>
                <a:gd name="T120" fmla="*/ 2 w 764"/>
                <a:gd name="T121" fmla="*/ 268 h 555"/>
                <a:gd name="T122" fmla="*/ 22 w 764"/>
                <a:gd name="T123" fmla="*/ 248 h 555"/>
                <a:gd name="T124" fmla="*/ 34 w 764"/>
                <a:gd name="T125" fmla="*/ 221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93" name="Freeform 261"/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5480050" y="2489200"/>
              <a:ext cx="365125" cy="423863"/>
            </a:xfrm>
            <a:custGeom>
              <a:avLst/>
              <a:gdLst>
                <a:gd name="T0" fmla="*/ 779 w 831"/>
                <a:gd name="T1" fmla="*/ 82 h 812"/>
                <a:gd name="T2" fmla="*/ 707 w 831"/>
                <a:gd name="T3" fmla="*/ 29 h 812"/>
                <a:gd name="T4" fmla="*/ 562 w 831"/>
                <a:gd name="T5" fmla="*/ 10 h 812"/>
                <a:gd name="T6" fmla="*/ 499 w 831"/>
                <a:gd name="T7" fmla="*/ 29 h 812"/>
                <a:gd name="T8" fmla="*/ 486 w 831"/>
                <a:gd name="T9" fmla="*/ 49 h 812"/>
                <a:gd name="T10" fmla="*/ 497 w 831"/>
                <a:gd name="T11" fmla="*/ 71 h 812"/>
                <a:gd name="T12" fmla="*/ 517 w 831"/>
                <a:gd name="T13" fmla="*/ 90 h 812"/>
                <a:gd name="T14" fmla="*/ 516 w 831"/>
                <a:gd name="T15" fmla="*/ 111 h 812"/>
                <a:gd name="T16" fmla="*/ 491 w 831"/>
                <a:gd name="T17" fmla="*/ 140 h 812"/>
                <a:gd name="T18" fmla="*/ 480 w 831"/>
                <a:gd name="T19" fmla="*/ 162 h 812"/>
                <a:gd name="T20" fmla="*/ 450 w 831"/>
                <a:gd name="T21" fmla="*/ 184 h 812"/>
                <a:gd name="T22" fmla="*/ 427 w 831"/>
                <a:gd name="T23" fmla="*/ 243 h 812"/>
                <a:gd name="T24" fmla="*/ 420 w 831"/>
                <a:gd name="T25" fmla="*/ 332 h 812"/>
                <a:gd name="T26" fmla="*/ 392 w 831"/>
                <a:gd name="T27" fmla="*/ 319 h 812"/>
                <a:gd name="T28" fmla="*/ 370 w 831"/>
                <a:gd name="T29" fmla="*/ 315 h 812"/>
                <a:gd name="T30" fmla="*/ 338 w 831"/>
                <a:gd name="T31" fmla="*/ 339 h 812"/>
                <a:gd name="T32" fmla="*/ 313 w 831"/>
                <a:gd name="T33" fmla="*/ 351 h 812"/>
                <a:gd name="T34" fmla="*/ 290 w 831"/>
                <a:gd name="T35" fmla="*/ 370 h 812"/>
                <a:gd name="T36" fmla="*/ 280 w 831"/>
                <a:gd name="T37" fmla="*/ 424 h 812"/>
                <a:gd name="T38" fmla="*/ 235 w 831"/>
                <a:gd name="T39" fmla="*/ 442 h 812"/>
                <a:gd name="T40" fmla="*/ 127 w 831"/>
                <a:gd name="T41" fmla="*/ 462 h 812"/>
                <a:gd name="T42" fmla="*/ 26 w 831"/>
                <a:gd name="T43" fmla="*/ 449 h 812"/>
                <a:gd name="T44" fmla="*/ 51 w 831"/>
                <a:gd name="T45" fmla="*/ 505 h 812"/>
                <a:gd name="T46" fmla="*/ 96 w 831"/>
                <a:gd name="T47" fmla="*/ 540 h 812"/>
                <a:gd name="T48" fmla="*/ 123 w 831"/>
                <a:gd name="T49" fmla="*/ 577 h 812"/>
                <a:gd name="T50" fmla="*/ 142 w 831"/>
                <a:gd name="T51" fmla="*/ 596 h 812"/>
                <a:gd name="T52" fmla="*/ 99 w 831"/>
                <a:gd name="T53" fmla="*/ 647 h 812"/>
                <a:gd name="T54" fmla="*/ 87 w 831"/>
                <a:gd name="T55" fmla="*/ 671 h 812"/>
                <a:gd name="T56" fmla="*/ 109 w 831"/>
                <a:gd name="T57" fmla="*/ 720 h 812"/>
                <a:gd name="T58" fmla="*/ 222 w 831"/>
                <a:gd name="T59" fmla="*/ 710 h 812"/>
                <a:gd name="T60" fmla="*/ 302 w 831"/>
                <a:gd name="T61" fmla="*/ 705 h 812"/>
                <a:gd name="T62" fmla="*/ 330 w 831"/>
                <a:gd name="T63" fmla="*/ 721 h 812"/>
                <a:gd name="T64" fmla="*/ 359 w 831"/>
                <a:gd name="T65" fmla="*/ 756 h 812"/>
                <a:gd name="T66" fmla="*/ 408 w 831"/>
                <a:gd name="T67" fmla="*/ 785 h 812"/>
                <a:gd name="T68" fmla="*/ 449 w 831"/>
                <a:gd name="T69" fmla="*/ 803 h 812"/>
                <a:gd name="T70" fmla="*/ 460 w 831"/>
                <a:gd name="T71" fmla="*/ 791 h 812"/>
                <a:gd name="T72" fmla="*/ 487 w 831"/>
                <a:gd name="T73" fmla="*/ 774 h 812"/>
                <a:gd name="T74" fmla="*/ 554 w 831"/>
                <a:gd name="T75" fmla="*/ 764 h 812"/>
                <a:gd name="T76" fmla="*/ 597 w 831"/>
                <a:gd name="T77" fmla="*/ 750 h 812"/>
                <a:gd name="T78" fmla="*/ 618 w 831"/>
                <a:gd name="T79" fmla="*/ 727 h 812"/>
                <a:gd name="T80" fmla="*/ 584 w 831"/>
                <a:gd name="T81" fmla="*/ 700 h 812"/>
                <a:gd name="T82" fmla="*/ 542 w 831"/>
                <a:gd name="T83" fmla="*/ 641 h 812"/>
                <a:gd name="T84" fmla="*/ 526 w 831"/>
                <a:gd name="T85" fmla="*/ 624 h 812"/>
                <a:gd name="T86" fmla="*/ 526 w 831"/>
                <a:gd name="T87" fmla="*/ 578 h 812"/>
                <a:gd name="T88" fmla="*/ 582 w 831"/>
                <a:gd name="T89" fmla="*/ 563 h 812"/>
                <a:gd name="T90" fmla="*/ 622 w 831"/>
                <a:gd name="T91" fmla="*/ 531 h 812"/>
                <a:gd name="T92" fmla="*/ 688 w 831"/>
                <a:gd name="T93" fmla="*/ 417 h 812"/>
                <a:gd name="T94" fmla="*/ 730 w 831"/>
                <a:gd name="T95" fmla="*/ 368 h 812"/>
                <a:gd name="T96" fmla="*/ 725 w 831"/>
                <a:gd name="T97" fmla="*/ 330 h 812"/>
                <a:gd name="T98" fmla="*/ 729 w 831"/>
                <a:gd name="T99" fmla="*/ 305 h 812"/>
                <a:gd name="T100" fmla="*/ 751 w 831"/>
                <a:gd name="T101" fmla="*/ 289 h 812"/>
                <a:gd name="T102" fmla="*/ 670 w 831"/>
                <a:gd name="T103" fmla="*/ 207 h 812"/>
                <a:gd name="T104" fmla="*/ 758 w 831"/>
                <a:gd name="T105" fmla="*/ 140 h 812"/>
                <a:gd name="T106" fmla="*/ 805 w 831"/>
                <a:gd name="T107" fmla="*/ 123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94" name="Freeform 262"/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6270625" y="2757488"/>
              <a:ext cx="220663" cy="585787"/>
            </a:xfrm>
            <a:custGeom>
              <a:avLst/>
              <a:gdLst>
                <a:gd name="T0" fmla="*/ 438 w 505"/>
                <a:gd name="T1" fmla="*/ 1067 h 1121"/>
                <a:gd name="T2" fmla="*/ 443 w 505"/>
                <a:gd name="T3" fmla="*/ 1028 h 1121"/>
                <a:gd name="T4" fmla="*/ 399 w 505"/>
                <a:gd name="T5" fmla="*/ 1022 h 1121"/>
                <a:gd name="T6" fmla="*/ 405 w 505"/>
                <a:gd name="T7" fmla="*/ 957 h 1121"/>
                <a:gd name="T8" fmla="*/ 419 w 505"/>
                <a:gd name="T9" fmla="*/ 931 h 1121"/>
                <a:gd name="T10" fmla="*/ 413 w 505"/>
                <a:gd name="T11" fmla="*/ 899 h 1121"/>
                <a:gd name="T12" fmla="*/ 398 w 505"/>
                <a:gd name="T13" fmla="*/ 893 h 1121"/>
                <a:gd name="T14" fmla="*/ 382 w 505"/>
                <a:gd name="T15" fmla="*/ 838 h 1121"/>
                <a:gd name="T16" fmla="*/ 324 w 505"/>
                <a:gd name="T17" fmla="*/ 719 h 1121"/>
                <a:gd name="T18" fmla="*/ 296 w 505"/>
                <a:gd name="T19" fmla="*/ 703 h 1121"/>
                <a:gd name="T20" fmla="*/ 282 w 505"/>
                <a:gd name="T21" fmla="*/ 718 h 1121"/>
                <a:gd name="T22" fmla="*/ 226 w 505"/>
                <a:gd name="T23" fmla="*/ 742 h 1121"/>
                <a:gd name="T24" fmla="*/ 169 w 505"/>
                <a:gd name="T25" fmla="*/ 736 h 1121"/>
                <a:gd name="T26" fmla="*/ 133 w 505"/>
                <a:gd name="T27" fmla="*/ 567 h 1121"/>
                <a:gd name="T28" fmla="*/ 101 w 505"/>
                <a:gd name="T29" fmla="*/ 520 h 1121"/>
                <a:gd name="T30" fmla="*/ 51 w 505"/>
                <a:gd name="T31" fmla="*/ 502 h 1121"/>
                <a:gd name="T32" fmla="*/ 8 w 505"/>
                <a:gd name="T33" fmla="*/ 471 h 1121"/>
                <a:gd name="T34" fmla="*/ 23 w 505"/>
                <a:gd name="T35" fmla="*/ 445 h 1121"/>
                <a:gd name="T36" fmla="*/ 58 w 505"/>
                <a:gd name="T37" fmla="*/ 361 h 1121"/>
                <a:gd name="T38" fmla="*/ 67 w 505"/>
                <a:gd name="T39" fmla="*/ 277 h 1121"/>
                <a:gd name="T40" fmla="*/ 80 w 505"/>
                <a:gd name="T41" fmla="*/ 265 h 1121"/>
                <a:gd name="T42" fmla="*/ 113 w 505"/>
                <a:gd name="T43" fmla="*/ 258 h 1121"/>
                <a:gd name="T44" fmla="*/ 134 w 505"/>
                <a:gd name="T45" fmla="*/ 222 h 1121"/>
                <a:gd name="T46" fmla="*/ 140 w 505"/>
                <a:gd name="T47" fmla="*/ 117 h 1121"/>
                <a:gd name="T48" fmla="*/ 159 w 505"/>
                <a:gd name="T49" fmla="*/ 98 h 1121"/>
                <a:gd name="T50" fmla="*/ 213 w 505"/>
                <a:gd name="T51" fmla="*/ 74 h 1121"/>
                <a:gd name="T52" fmla="*/ 234 w 505"/>
                <a:gd name="T53" fmla="*/ 21 h 1121"/>
                <a:gd name="T54" fmla="*/ 277 w 505"/>
                <a:gd name="T55" fmla="*/ 31 h 1121"/>
                <a:gd name="T56" fmla="*/ 312 w 505"/>
                <a:gd name="T57" fmla="*/ 49 h 1121"/>
                <a:gd name="T58" fmla="*/ 337 w 505"/>
                <a:gd name="T59" fmla="*/ 122 h 1121"/>
                <a:gd name="T60" fmla="*/ 335 w 505"/>
                <a:gd name="T61" fmla="*/ 167 h 1121"/>
                <a:gd name="T62" fmla="*/ 300 w 505"/>
                <a:gd name="T63" fmla="*/ 216 h 1121"/>
                <a:gd name="T64" fmla="*/ 293 w 505"/>
                <a:gd name="T65" fmla="*/ 245 h 1121"/>
                <a:gd name="T66" fmla="*/ 309 w 505"/>
                <a:gd name="T67" fmla="*/ 261 h 1121"/>
                <a:gd name="T68" fmla="*/ 346 w 505"/>
                <a:gd name="T69" fmla="*/ 270 h 1121"/>
                <a:gd name="T70" fmla="*/ 371 w 505"/>
                <a:gd name="T71" fmla="*/ 291 h 1121"/>
                <a:gd name="T72" fmla="*/ 398 w 505"/>
                <a:gd name="T73" fmla="*/ 345 h 1121"/>
                <a:gd name="T74" fmla="*/ 430 w 505"/>
                <a:gd name="T75" fmla="*/ 400 h 1121"/>
                <a:gd name="T76" fmla="*/ 464 w 505"/>
                <a:gd name="T77" fmla="*/ 418 h 1121"/>
                <a:gd name="T78" fmla="*/ 505 w 505"/>
                <a:gd name="T79" fmla="*/ 418 h 1121"/>
                <a:gd name="T80" fmla="*/ 476 w 505"/>
                <a:gd name="T81" fmla="*/ 494 h 1121"/>
                <a:gd name="T82" fmla="*/ 427 w 505"/>
                <a:gd name="T83" fmla="*/ 510 h 1121"/>
                <a:gd name="T84" fmla="*/ 383 w 505"/>
                <a:gd name="T85" fmla="*/ 528 h 1121"/>
                <a:gd name="T86" fmla="*/ 360 w 505"/>
                <a:gd name="T87" fmla="*/ 572 h 1121"/>
                <a:gd name="T88" fmla="*/ 370 w 505"/>
                <a:gd name="T89" fmla="*/ 637 h 1121"/>
                <a:gd name="T90" fmla="*/ 402 w 505"/>
                <a:gd name="T91" fmla="*/ 683 h 1121"/>
                <a:gd name="T92" fmla="*/ 430 w 505"/>
                <a:gd name="T93" fmla="*/ 735 h 1121"/>
                <a:gd name="T94" fmla="*/ 428 w 505"/>
                <a:gd name="T95" fmla="*/ 776 h 1121"/>
                <a:gd name="T96" fmla="*/ 419 w 505"/>
                <a:gd name="T97" fmla="*/ 801 h 1121"/>
                <a:gd name="T98" fmla="*/ 435 w 505"/>
                <a:gd name="T99" fmla="*/ 851 h 1121"/>
                <a:gd name="T100" fmla="*/ 483 w 505"/>
                <a:gd name="T101" fmla="*/ 965 h 1121"/>
                <a:gd name="T102" fmla="*/ 458 w 505"/>
                <a:gd name="T103" fmla="*/ 1082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95" name="Freeform 263"/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3594100" y="3267075"/>
              <a:ext cx="80963" cy="58738"/>
            </a:xfrm>
            <a:custGeom>
              <a:avLst/>
              <a:gdLst>
                <a:gd name="T0" fmla="*/ 180 w 180"/>
                <a:gd name="T1" fmla="*/ 7 h 112"/>
                <a:gd name="T2" fmla="*/ 171 w 180"/>
                <a:gd name="T3" fmla="*/ 24 h 112"/>
                <a:gd name="T4" fmla="*/ 163 w 180"/>
                <a:gd name="T5" fmla="*/ 39 h 112"/>
                <a:gd name="T6" fmla="*/ 152 w 180"/>
                <a:gd name="T7" fmla="*/ 53 h 112"/>
                <a:gd name="T8" fmla="*/ 141 w 180"/>
                <a:gd name="T9" fmla="*/ 66 h 112"/>
                <a:gd name="T10" fmla="*/ 129 w 180"/>
                <a:gd name="T11" fmla="*/ 80 h 112"/>
                <a:gd name="T12" fmla="*/ 115 w 180"/>
                <a:gd name="T13" fmla="*/ 92 h 112"/>
                <a:gd name="T14" fmla="*/ 101 w 180"/>
                <a:gd name="T15" fmla="*/ 102 h 112"/>
                <a:gd name="T16" fmla="*/ 87 w 180"/>
                <a:gd name="T17" fmla="*/ 112 h 112"/>
                <a:gd name="T18" fmla="*/ 82 w 180"/>
                <a:gd name="T19" fmla="*/ 107 h 112"/>
                <a:gd name="T20" fmla="*/ 79 w 180"/>
                <a:gd name="T21" fmla="*/ 101 h 112"/>
                <a:gd name="T22" fmla="*/ 76 w 180"/>
                <a:gd name="T23" fmla="*/ 95 h 112"/>
                <a:gd name="T24" fmla="*/ 74 w 180"/>
                <a:gd name="T25" fmla="*/ 88 h 112"/>
                <a:gd name="T26" fmla="*/ 70 w 180"/>
                <a:gd name="T27" fmla="*/ 81 h 112"/>
                <a:gd name="T28" fmla="*/ 68 w 180"/>
                <a:gd name="T29" fmla="*/ 74 h 112"/>
                <a:gd name="T30" fmla="*/ 65 w 180"/>
                <a:gd name="T31" fmla="*/ 69 h 112"/>
                <a:gd name="T32" fmla="*/ 60 w 180"/>
                <a:gd name="T33" fmla="*/ 63 h 112"/>
                <a:gd name="T34" fmla="*/ 45 w 180"/>
                <a:gd name="T35" fmla="*/ 48 h 112"/>
                <a:gd name="T36" fmla="*/ 36 w 180"/>
                <a:gd name="T37" fmla="*/ 38 h 112"/>
                <a:gd name="T38" fmla="*/ 30 w 180"/>
                <a:gd name="T39" fmla="*/ 33 h 112"/>
                <a:gd name="T40" fmla="*/ 25 w 180"/>
                <a:gd name="T41" fmla="*/ 31 h 112"/>
                <a:gd name="T42" fmla="*/ 18 w 180"/>
                <a:gd name="T43" fmla="*/ 30 h 112"/>
                <a:gd name="T44" fmla="*/ 0 w 180"/>
                <a:gd name="T45" fmla="*/ 26 h 112"/>
                <a:gd name="T46" fmla="*/ 26 w 180"/>
                <a:gd name="T47" fmla="*/ 14 h 112"/>
                <a:gd name="T48" fmla="*/ 41 w 180"/>
                <a:gd name="T49" fmla="*/ 9 h 112"/>
                <a:gd name="T50" fmla="*/ 56 w 180"/>
                <a:gd name="T51" fmla="*/ 5 h 112"/>
                <a:gd name="T52" fmla="*/ 74 w 180"/>
                <a:gd name="T53" fmla="*/ 3 h 112"/>
                <a:gd name="T54" fmla="*/ 93 w 180"/>
                <a:gd name="T55" fmla="*/ 1 h 112"/>
                <a:gd name="T56" fmla="*/ 114 w 180"/>
                <a:gd name="T57" fmla="*/ 0 h 112"/>
                <a:gd name="T58" fmla="*/ 135 w 180"/>
                <a:gd name="T59" fmla="*/ 1 h 112"/>
                <a:gd name="T60" fmla="*/ 157 w 180"/>
                <a:gd name="T61" fmla="*/ 3 h 112"/>
                <a:gd name="T62" fmla="*/ 180 w 180"/>
                <a:gd name="T63" fmla="*/ 7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96" name="Freeform 264"/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3678238" y="3349625"/>
              <a:ext cx="74612" cy="100013"/>
            </a:xfrm>
            <a:custGeom>
              <a:avLst/>
              <a:gdLst>
                <a:gd name="T0" fmla="*/ 0 w 173"/>
                <a:gd name="T1" fmla="*/ 68 h 192"/>
                <a:gd name="T2" fmla="*/ 27 w 173"/>
                <a:gd name="T3" fmla="*/ 42 h 192"/>
                <a:gd name="T4" fmla="*/ 51 w 173"/>
                <a:gd name="T5" fmla="*/ 21 h 192"/>
                <a:gd name="T6" fmla="*/ 56 w 173"/>
                <a:gd name="T7" fmla="*/ 16 h 192"/>
                <a:gd name="T8" fmla="*/ 63 w 173"/>
                <a:gd name="T9" fmla="*/ 12 h 192"/>
                <a:gd name="T10" fmla="*/ 70 w 173"/>
                <a:gd name="T11" fmla="*/ 8 h 192"/>
                <a:gd name="T12" fmla="*/ 76 w 173"/>
                <a:gd name="T13" fmla="*/ 6 h 192"/>
                <a:gd name="T14" fmla="*/ 83 w 173"/>
                <a:gd name="T15" fmla="*/ 3 h 192"/>
                <a:gd name="T16" fmla="*/ 90 w 173"/>
                <a:gd name="T17" fmla="*/ 2 h 192"/>
                <a:gd name="T18" fmla="*/ 98 w 173"/>
                <a:gd name="T19" fmla="*/ 1 h 192"/>
                <a:gd name="T20" fmla="*/ 107 w 173"/>
                <a:gd name="T21" fmla="*/ 0 h 192"/>
                <a:gd name="T22" fmla="*/ 116 w 173"/>
                <a:gd name="T23" fmla="*/ 1 h 192"/>
                <a:gd name="T24" fmla="*/ 124 w 173"/>
                <a:gd name="T25" fmla="*/ 2 h 192"/>
                <a:gd name="T26" fmla="*/ 132 w 173"/>
                <a:gd name="T27" fmla="*/ 5 h 192"/>
                <a:gd name="T28" fmla="*/ 139 w 173"/>
                <a:gd name="T29" fmla="*/ 8 h 192"/>
                <a:gd name="T30" fmla="*/ 145 w 173"/>
                <a:gd name="T31" fmla="*/ 13 h 192"/>
                <a:gd name="T32" fmla="*/ 151 w 173"/>
                <a:gd name="T33" fmla="*/ 19 h 192"/>
                <a:gd name="T34" fmla="*/ 155 w 173"/>
                <a:gd name="T35" fmla="*/ 24 h 192"/>
                <a:gd name="T36" fmla="*/ 160 w 173"/>
                <a:gd name="T37" fmla="*/ 30 h 192"/>
                <a:gd name="T38" fmla="*/ 163 w 173"/>
                <a:gd name="T39" fmla="*/ 37 h 192"/>
                <a:gd name="T40" fmla="*/ 166 w 173"/>
                <a:gd name="T41" fmla="*/ 43 h 192"/>
                <a:gd name="T42" fmla="*/ 168 w 173"/>
                <a:gd name="T43" fmla="*/ 50 h 192"/>
                <a:gd name="T44" fmla="*/ 169 w 173"/>
                <a:gd name="T45" fmla="*/ 57 h 192"/>
                <a:gd name="T46" fmla="*/ 172 w 173"/>
                <a:gd name="T47" fmla="*/ 72 h 192"/>
                <a:gd name="T48" fmla="*/ 173 w 173"/>
                <a:gd name="T49" fmla="*/ 87 h 192"/>
                <a:gd name="T50" fmla="*/ 157 w 173"/>
                <a:gd name="T51" fmla="*/ 114 h 192"/>
                <a:gd name="T52" fmla="*/ 146 w 173"/>
                <a:gd name="T53" fmla="*/ 137 h 192"/>
                <a:gd name="T54" fmla="*/ 139 w 173"/>
                <a:gd name="T55" fmla="*/ 148 h 192"/>
                <a:gd name="T56" fmla="*/ 130 w 173"/>
                <a:gd name="T57" fmla="*/ 160 h 192"/>
                <a:gd name="T58" fmla="*/ 117 w 173"/>
                <a:gd name="T59" fmla="*/ 174 h 192"/>
                <a:gd name="T60" fmla="*/ 99 w 173"/>
                <a:gd name="T61" fmla="*/ 192 h 192"/>
                <a:gd name="T62" fmla="*/ 86 w 173"/>
                <a:gd name="T63" fmla="*/ 183 h 192"/>
                <a:gd name="T64" fmla="*/ 74 w 173"/>
                <a:gd name="T65" fmla="*/ 176 h 192"/>
                <a:gd name="T66" fmla="*/ 63 w 173"/>
                <a:gd name="T67" fmla="*/ 169 h 192"/>
                <a:gd name="T68" fmla="*/ 54 w 173"/>
                <a:gd name="T69" fmla="*/ 163 h 192"/>
                <a:gd name="T70" fmla="*/ 46 w 173"/>
                <a:gd name="T71" fmla="*/ 156 h 192"/>
                <a:gd name="T72" fmla="*/ 40 w 173"/>
                <a:gd name="T73" fmla="*/ 150 h 192"/>
                <a:gd name="T74" fmla="*/ 34 w 173"/>
                <a:gd name="T75" fmla="*/ 144 h 192"/>
                <a:gd name="T76" fmla="*/ 30 w 173"/>
                <a:gd name="T77" fmla="*/ 137 h 192"/>
                <a:gd name="T78" fmla="*/ 22 w 173"/>
                <a:gd name="T79" fmla="*/ 123 h 192"/>
                <a:gd name="T80" fmla="*/ 16 w 173"/>
                <a:gd name="T81" fmla="*/ 107 h 192"/>
                <a:gd name="T82" fmla="*/ 9 w 173"/>
                <a:gd name="T83" fmla="*/ 90 h 192"/>
                <a:gd name="T84" fmla="*/ 0 w 173"/>
                <a:gd name="T85" fmla="*/ 68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97" name="Freeform 265"/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3721100" y="3400425"/>
              <a:ext cx="104775" cy="131763"/>
            </a:xfrm>
            <a:custGeom>
              <a:avLst/>
              <a:gdLst>
                <a:gd name="T0" fmla="*/ 74 w 233"/>
                <a:gd name="T1" fmla="*/ 0 h 252"/>
                <a:gd name="T2" fmla="*/ 83 w 233"/>
                <a:gd name="T3" fmla="*/ 2 h 252"/>
                <a:gd name="T4" fmla="*/ 89 w 233"/>
                <a:gd name="T5" fmla="*/ 3 h 252"/>
                <a:gd name="T6" fmla="*/ 95 w 233"/>
                <a:gd name="T7" fmla="*/ 3 h 252"/>
                <a:gd name="T8" fmla="*/ 99 w 233"/>
                <a:gd name="T9" fmla="*/ 2 h 252"/>
                <a:gd name="T10" fmla="*/ 106 w 233"/>
                <a:gd name="T11" fmla="*/ 1 h 252"/>
                <a:gd name="T12" fmla="*/ 113 w 233"/>
                <a:gd name="T13" fmla="*/ 0 h 252"/>
                <a:gd name="T14" fmla="*/ 125 w 233"/>
                <a:gd name="T15" fmla="*/ 17 h 252"/>
                <a:gd name="T16" fmla="*/ 140 w 233"/>
                <a:gd name="T17" fmla="*/ 37 h 252"/>
                <a:gd name="T18" fmla="*/ 144 w 233"/>
                <a:gd name="T19" fmla="*/ 42 h 252"/>
                <a:gd name="T20" fmla="*/ 148 w 233"/>
                <a:gd name="T21" fmla="*/ 46 h 252"/>
                <a:gd name="T22" fmla="*/ 153 w 233"/>
                <a:gd name="T23" fmla="*/ 49 h 252"/>
                <a:gd name="T24" fmla="*/ 157 w 233"/>
                <a:gd name="T25" fmla="*/ 52 h 252"/>
                <a:gd name="T26" fmla="*/ 163 w 233"/>
                <a:gd name="T27" fmla="*/ 54 h 252"/>
                <a:gd name="T28" fmla="*/ 168 w 233"/>
                <a:gd name="T29" fmla="*/ 56 h 252"/>
                <a:gd name="T30" fmla="*/ 174 w 233"/>
                <a:gd name="T31" fmla="*/ 56 h 252"/>
                <a:gd name="T32" fmla="*/ 180 w 233"/>
                <a:gd name="T33" fmla="*/ 56 h 252"/>
                <a:gd name="T34" fmla="*/ 180 w 233"/>
                <a:gd name="T35" fmla="*/ 80 h 252"/>
                <a:gd name="T36" fmla="*/ 193 w 233"/>
                <a:gd name="T37" fmla="*/ 103 h 252"/>
                <a:gd name="T38" fmla="*/ 212 w 233"/>
                <a:gd name="T39" fmla="*/ 128 h 252"/>
                <a:gd name="T40" fmla="*/ 215 w 233"/>
                <a:gd name="T41" fmla="*/ 135 h 252"/>
                <a:gd name="T42" fmla="*/ 220 w 233"/>
                <a:gd name="T43" fmla="*/ 142 h 252"/>
                <a:gd name="T44" fmla="*/ 223 w 233"/>
                <a:gd name="T45" fmla="*/ 151 h 252"/>
                <a:gd name="T46" fmla="*/ 226 w 233"/>
                <a:gd name="T47" fmla="*/ 160 h 252"/>
                <a:gd name="T48" fmla="*/ 230 w 233"/>
                <a:gd name="T49" fmla="*/ 170 h 252"/>
                <a:gd name="T50" fmla="*/ 232 w 233"/>
                <a:gd name="T51" fmla="*/ 180 h 252"/>
                <a:gd name="T52" fmla="*/ 233 w 233"/>
                <a:gd name="T53" fmla="*/ 191 h 252"/>
                <a:gd name="T54" fmla="*/ 233 w 233"/>
                <a:gd name="T55" fmla="*/ 204 h 252"/>
                <a:gd name="T56" fmla="*/ 232 w 233"/>
                <a:gd name="T57" fmla="*/ 216 h 252"/>
                <a:gd name="T58" fmla="*/ 230 w 233"/>
                <a:gd name="T59" fmla="*/ 228 h 252"/>
                <a:gd name="T60" fmla="*/ 227 w 233"/>
                <a:gd name="T61" fmla="*/ 240 h 252"/>
                <a:gd name="T62" fmla="*/ 226 w 233"/>
                <a:gd name="T63" fmla="*/ 252 h 252"/>
                <a:gd name="T64" fmla="*/ 222 w 233"/>
                <a:gd name="T65" fmla="*/ 252 h 252"/>
                <a:gd name="T66" fmla="*/ 215 w 233"/>
                <a:gd name="T67" fmla="*/ 250 h 252"/>
                <a:gd name="T68" fmla="*/ 208 w 233"/>
                <a:gd name="T69" fmla="*/ 246 h 252"/>
                <a:gd name="T70" fmla="*/ 198 w 233"/>
                <a:gd name="T71" fmla="*/ 241 h 252"/>
                <a:gd name="T72" fmla="*/ 176 w 233"/>
                <a:gd name="T73" fmla="*/ 226 h 252"/>
                <a:gd name="T74" fmla="*/ 151 w 233"/>
                <a:gd name="T75" fmla="*/ 208 h 252"/>
                <a:gd name="T76" fmla="*/ 125 w 233"/>
                <a:gd name="T77" fmla="*/ 186 h 252"/>
                <a:gd name="T78" fmla="*/ 100 w 233"/>
                <a:gd name="T79" fmla="*/ 165 h 252"/>
                <a:gd name="T80" fmla="*/ 78 w 233"/>
                <a:gd name="T81" fmla="*/ 145 h 252"/>
                <a:gd name="T82" fmla="*/ 61 w 233"/>
                <a:gd name="T83" fmla="*/ 129 h 252"/>
                <a:gd name="T84" fmla="*/ 55 w 233"/>
                <a:gd name="T85" fmla="*/ 125 h 252"/>
                <a:gd name="T86" fmla="*/ 48 w 233"/>
                <a:gd name="T87" fmla="*/ 120 h 252"/>
                <a:gd name="T88" fmla="*/ 41 w 233"/>
                <a:gd name="T89" fmla="*/ 116 h 252"/>
                <a:gd name="T90" fmla="*/ 33 w 233"/>
                <a:gd name="T91" fmla="*/ 112 h 252"/>
                <a:gd name="T92" fmla="*/ 17 w 233"/>
                <a:gd name="T93" fmla="*/ 104 h 252"/>
                <a:gd name="T94" fmla="*/ 0 w 233"/>
                <a:gd name="T95" fmla="*/ 99 h 252"/>
                <a:gd name="T96" fmla="*/ 40 w 233"/>
                <a:gd name="T97" fmla="*/ 63 h 252"/>
                <a:gd name="T98" fmla="*/ 59 w 233"/>
                <a:gd name="T99" fmla="*/ 43 h 252"/>
                <a:gd name="T100" fmla="*/ 65 w 233"/>
                <a:gd name="T101" fmla="*/ 33 h 252"/>
                <a:gd name="T102" fmla="*/ 69 w 233"/>
                <a:gd name="T103" fmla="*/ 25 h 252"/>
                <a:gd name="T104" fmla="*/ 72 w 233"/>
                <a:gd name="T105" fmla="*/ 14 h 252"/>
                <a:gd name="T106" fmla="*/ 74 w 233"/>
                <a:gd name="T107" fmla="*/ 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98" name="Freeform 266"/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3935413" y="3319463"/>
              <a:ext cx="104775" cy="201612"/>
            </a:xfrm>
            <a:custGeom>
              <a:avLst/>
              <a:gdLst>
                <a:gd name="T0" fmla="*/ 13 w 246"/>
                <a:gd name="T1" fmla="*/ 376 h 380"/>
                <a:gd name="T2" fmla="*/ 14 w 246"/>
                <a:gd name="T3" fmla="*/ 367 h 380"/>
                <a:gd name="T4" fmla="*/ 15 w 246"/>
                <a:gd name="T5" fmla="*/ 359 h 380"/>
                <a:gd name="T6" fmla="*/ 18 w 246"/>
                <a:gd name="T7" fmla="*/ 351 h 380"/>
                <a:gd name="T8" fmla="*/ 20 w 246"/>
                <a:gd name="T9" fmla="*/ 344 h 380"/>
                <a:gd name="T10" fmla="*/ 25 w 246"/>
                <a:gd name="T11" fmla="*/ 333 h 380"/>
                <a:gd name="T12" fmla="*/ 26 w 246"/>
                <a:gd name="T13" fmla="*/ 327 h 380"/>
                <a:gd name="T14" fmla="*/ 25 w 246"/>
                <a:gd name="T15" fmla="*/ 321 h 380"/>
                <a:gd name="T16" fmla="*/ 23 w 246"/>
                <a:gd name="T17" fmla="*/ 314 h 380"/>
                <a:gd name="T18" fmla="*/ 19 w 246"/>
                <a:gd name="T19" fmla="*/ 305 h 380"/>
                <a:gd name="T20" fmla="*/ 13 w 246"/>
                <a:gd name="T21" fmla="*/ 295 h 380"/>
                <a:gd name="T22" fmla="*/ 9 w 246"/>
                <a:gd name="T23" fmla="*/ 285 h 380"/>
                <a:gd name="T24" fmla="*/ 4 w 246"/>
                <a:gd name="T25" fmla="*/ 275 h 380"/>
                <a:gd name="T26" fmla="*/ 1 w 246"/>
                <a:gd name="T27" fmla="*/ 267 h 380"/>
                <a:gd name="T28" fmla="*/ 0 w 246"/>
                <a:gd name="T29" fmla="*/ 259 h 380"/>
                <a:gd name="T30" fmla="*/ 1 w 246"/>
                <a:gd name="T31" fmla="*/ 251 h 380"/>
                <a:gd name="T32" fmla="*/ 2 w 246"/>
                <a:gd name="T33" fmla="*/ 243 h 380"/>
                <a:gd name="T34" fmla="*/ 3 w 246"/>
                <a:gd name="T35" fmla="*/ 236 h 380"/>
                <a:gd name="T36" fmla="*/ 6 w 246"/>
                <a:gd name="T37" fmla="*/ 230 h 380"/>
                <a:gd name="T38" fmla="*/ 11 w 246"/>
                <a:gd name="T39" fmla="*/ 218 h 380"/>
                <a:gd name="T40" fmla="*/ 19 w 246"/>
                <a:gd name="T41" fmla="*/ 207 h 380"/>
                <a:gd name="T42" fmla="*/ 26 w 246"/>
                <a:gd name="T43" fmla="*/ 197 h 380"/>
                <a:gd name="T44" fmla="*/ 34 w 246"/>
                <a:gd name="T45" fmla="*/ 185 h 380"/>
                <a:gd name="T46" fmla="*/ 41 w 246"/>
                <a:gd name="T47" fmla="*/ 173 h 380"/>
                <a:gd name="T48" fmla="*/ 47 w 246"/>
                <a:gd name="T49" fmla="*/ 160 h 380"/>
                <a:gd name="T50" fmla="*/ 26 w 246"/>
                <a:gd name="T51" fmla="*/ 73 h 380"/>
                <a:gd name="T52" fmla="*/ 26 w 246"/>
                <a:gd name="T53" fmla="*/ 50 h 380"/>
                <a:gd name="T54" fmla="*/ 24 w 246"/>
                <a:gd name="T55" fmla="*/ 33 h 380"/>
                <a:gd name="T56" fmla="*/ 24 w 246"/>
                <a:gd name="T57" fmla="*/ 25 h 380"/>
                <a:gd name="T58" fmla="*/ 24 w 246"/>
                <a:gd name="T59" fmla="*/ 16 h 380"/>
                <a:gd name="T60" fmla="*/ 25 w 246"/>
                <a:gd name="T61" fmla="*/ 8 h 380"/>
                <a:gd name="T62" fmla="*/ 26 w 246"/>
                <a:gd name="T63" fmla="*/ 0 h 380"/>
                <a:gd name="T64" fmla="*/ 180 w 246"/>
                <a:gd name="T65" fmla="*/ 0 h 380"/>
                <a:gd name="T66" fmla="*/ 220 w 246"/>
                <a:gd name="T67" fmla="*/ 129 h 380"/>
                <a:gd name="T68" fmla="*/ 220 w 246"/>
                <a:gd name="T69" fmla="*/ 210 h 380"/>
                <a:gd name="T70" fmla="*/ 220 w 246"/>
                <a:gd name="T71" fmla="*/ 220 h 380"/>
                <a:gd name="T72" fmla="*/ 221 w 246"/>
                <a:gd name="T73" fmla="*/ 230 h 380"/>
                <a:gd name="T74" fmla="*/ 223 w 246"/>
                <a:gd name="T75" fmla="*/ 240 h 380"/>
                <a:gd name="T76" fmla="*/ 225 w 246"/>
                <a:gd name="T77" fmla="*/ 250 h 380"/>
                <a:gd name="T78" fmla="*/ 228 w 246"/>
                <a:gd name="T79" fmla="*/ 259 h 380"/>
                <a:gd name="T80" fmla="*/ 234 w 246"/>
                <a:gd name="T81" fmla="*/ 268 h 380"/>
                <a:gd name="T82" fmla="*/ 239 w 246"/>
                <a:gd name="T83" fmla="*/ 278 h 380"/>
                <a:gd name="T84" fmla="*/ 246 w 246"/>
                <a:gd name="T85" fmla="*/ 289 h 380"/>
                <a:gd name="T86" fmla="*/ 224 w 246"/>
                <a:gd name="T87" fmla="*/ 295 h 380"/>
                <a:gd name="T88" fmla="*/ 202 w 246"/>
                <a:gd name="T89" fmla="*/ 302 h 380"/>
                <a:gd name="T90" fmla="*/ 181 w 246"/>
                <a:gd name="T91" fmla="*/ 310 h 380"/>
                <a:gd name="T92" fmla="*/ 160 w 246"/>
                <a:gd name="T93" fmla="*/ 319 h 380"/>
                <a:gd name="T94" fmla="*/ 141 w 246"/>
                <a:gd name="T95" fmla="*/ 328 h 380"/>
                <a:gd name="T96" fmla="*/ 120 w 246"/>
                <a:gd name="T97" fmla="*/ 338 h 380"/>
                <a:gd name="T98" fmla="*/ 100 w 246"/>
                <a:gd name="T99" fmla="*/ 347 h 380"/>
                <a:gd name="T100" fmla="*/ 80 w 246"/>
                <a:gd name="T101" fmla="*/ 358 h 380"/>
                <a:gd name="T102" fmla="*/ 75 w 246"/>
                <a:gd name="T103" fmla="*/ 363 h 380"/>
                <a:gd name="T104" fmla="*/ 69 w 246"/>
                <a:gd name="T105" fmla="*/ 367 h 380"/>
                <a:gd name="T106" fmla="*/ 62 w 246"/>
                <a:gd name="T107" fmla="*/ 372 h 380"/>
                <a:gd name="T108" fmla="*/ 54 w 246"/>
                <a:gd name="T109" fmla="*/ 376 h 380"/>
                <a:gd name="T110" fmla="*/ 46 w 246"/>
                <a:gd name="T111" fmla="*/ 379 h 380"/>
                <a:gd name="T112" fmla="*/ 36 w 246"/>
                <a:gd name="T113" fmla="*/ 380 h 380"/>
                <a:gd name="T114" fmla="*/ 31 w 246"/>
                <a:gd name="T115" fmla="*/ 380 h 380"/>
                <a:gd name="T116" fmla="*/ 25 w 246"/>
                <a:gd name="T117" fmla="*/ 379 h 380"/>
                <a:gd name="T118" fmla="*/ 20 w 246"/>
                <a:gd name="T119" fmla="*/ 378 h 380"/>
                <a:gd name="T120" fmla="*/ 13 w 246"/>
                <a:gd name="T121" fmla="*/ 376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99" name="Freeform 267"/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3587750" y="3235325"/>
              <a:ext cx="87313" cy="58738"/>
            </a:xfrm>
            <a:custGeom>
              <a:avLst/>
              <a:gdLst>
                <a:gd name="T0" fmla="*/ 7 w 193"/>
                <a:gd name="T1" fmla="*/ 20 h 38"/>
                <a:gd name="T2" fmla="*/ 38 w 193"/>
                <a:gd name="T3" fmla="*/ 11 h 38"/>
                <a:gd name="T4" fmla="*/ 67 w 193"/>
                <a:gd name="T5" fmla="*/ 5 h 38"/>
                <a:gd name="T6" fmla="*/ 80 w 193"/>
                <a:gd name="T7" fmla="*/ 3 h 38"/>
                <a:gd name="T8" fmla="*/ 94 w 193"/>
                <a:gd name="T9" fmla="*/ 2 h 38"/>
                <a:gd name="T10" fmla="*/ 110 w 193"/>
                <a:gd name="T11" fmla="*/ 1 h 38"/>
                <a:gd name="T12" fmla="*/ 126 w 193"/>
                <a:gd name="T13" fmla="*/ 0 h 38"/>
                <a:gd name="T14" fmla="*/ 138 w 193"/>
                <a:gd name="T15" fmla="*/ 1 h 38"/>
                <a:gd name="T16" fmla="*/ 149 w 193"/>
                <a:gd name="T17" fmla="*/ 1 h 38"/>
                <a:gd name="T18" fmla="*/ 160 w 193"/>
                <a:gd name="T19" fmla="*/ 2 h 38"/>
                <a:gd name="T20" fmla="*/ 169 w 193"/>
                <a:gd name="T21" fmla="*/ 4 h 38"/>
                <a:gd name="T22" fmla="*/ 178 w 193"/>
                <a:gd name="T23" fmla="*/ 6 h 38"/>
                <a:gd name="T24" fmla="*/ 184 w 193"/>
                <a:gd name="T25" fmla="*/ 11 h 38"/>
                <a:gd name="T26" fmla="*/ 187 w 193"/>
                <a:gd name="T27" fmla="*/ 13 h 38"/>
                <a:gd name="T28" fmla="*/ 189 w 193"/>
                <a:gd name="T29" fmla="*/ 18 h 38"/>
                <a:gd name="T30" fmla="*/ 191 w 193"/>
                <a:gd name="T31" fmla="*/ 21 h 38"/>
                <a:gd name="T32" fmla="*/ 193 w 193"/>
                <a:gd name="T33" fmla="*/ 26 h 38"/>
                <a:gd name="T34" fmla="*/ 183 w 193"/>
                <a:gd name="T35" fmla="*/ 27 h 38"/>
                <a:gd name="T36" fmla="*/ 173 w 193"/>
                <a:gd name="T37" fmla="*/ 28 h 38"/>
                <a:gd name="T38" fmla="*/ 165 w 193"/>
                <a:gd name="T39" fmla="*/ 28 h 38"/>
                <a:gd name="T40" fmla="*/ 156 w 193"/>
                <a:gd name="T41" fmla="*/ 28 h 38"/>
                <a:gd name="T42" fmla="*/ 138 w 193"/>
                <a:gd name="T43" fmla="*/ 27 h 38"/>
                <a:gd name="T44" fmla="*/ 120 w 193"/>
                <a:gd name="T45" fmla="*/ 26 h 38"/>
                <a:gd name="T46" fmla="*/ 103 w 193"/>
                <a:gd name="T47" fmla="*/ 26 h 38"/>
                <a:gd name="T48" fmla="*/ 89 w 193"/>
                <a:gd name="T49" fmla="*/ 28 h 38"/>
                <a:gd name="T50" fmla="*/ 76 w 193"/>
                <a:gd name="T51" fmla="*/ 30 h 38"/>
                <a:gd name="T52" fmla="*/ 63 w 193"/>
                <a:gd name="T53" fmla="*/ 32 h 38"/>
                <a:gd name="T54" fmla="*/ 49 w 193"/>
                <a:gd name="T55" fmla="*/ 34 h 38"/>
                <a:gd name="T56" fmla="*/ 35 w 193"/>
                <a:gd name="T57" fmla="*/ 36 h 38"/>
                <a:gd name="T58" fmla="*/ 19 w 193"/>
                <a:gd name="T59" fmla="*/ 37 h 38"/>
                <a:gd name="T60" fmla="*/ 0 w 193"/>
                <a:gd name="T61" fmla="*/ 38 h 38"/>
                <a:gd name="T62" fmla="*/ 0 w 193"/>
                <a:gd name="T63" fmla="*/ 33 h 38"/>
                <a:gd name="T64" fmla="*/ 1 w 193"/>
                <a:gd name="T65" fmla="*/ 29 h 38"/>
                <a:gd name="T66" fmla="*/ 3 w 193"/>
                <a:gd name="T67" fmla="*/ 24 h 38"/>
                <a:gd name="T68" fmla="*/ 7 w 193"/>
                <a:gd name="T69" fmla="*/ 2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00" name="Freeform 268"/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4013200" y="3313113"/>
              <a:ext cx="42863" cy="155575"/>
            </a:xfrm>
            <a:custGeom>
              <a:avLst/>
              <a:gdLst>
                <a:gd name="T0" fmla="*/ 53 w 99"/>
                <a:gd name="T1" fmla="*/ 12 h 301"/>
                <a:gd name="T2" fmla="*/ 59 w 99"/>
                <a:gd name="T3" fmla="*/ 12 h 301"/>
                <a:gd name="T4" fmla="*/ 59 w 99"/>
                <a:gd name="T5" fmla="*/ 19 h 301"/>
                <a:gd name="T6" fmla="*/ 62 w 99"/>
                <a:gd name="T7" fmla="*/ 26 h 301"/>
                <a:gd name="T8" fmla="*/ 63 w 99"/>
                <a:gd name="T9" fmla="*/ 33 h 301"/>
                <a:gd name="T10" fmla="*/ 66 w 99"/>
                <a:gd name="T11" fmla="*/ 42 h 301"/>
                <a:gd name="T12" fmla="*/ 72 w 99"/>
                <a:gd name="T13" fmla="*/ 58 h 301"/>
                <a:gd name="T14" fmla="*/ 79 w 99"/>
                <a:gd name="T15" fmla="*/ 75 h 301"/>
                <a:gd name="T16" fmla="*/ 87 w 99"/>
                <a:gd name="T17" fmla="*/ 93 h 301"/>
                <a:gd name="T18" fmla="*/ 93 w 99"/>
                <a:gd name="T19" fmla="*/ 111 h 301"/>
                <a:gd name="T20" fmla="*/ 96 w 99"/>
                <a:gd name="T21" fmla="*/ 120 h 301"/>
                <a:gd name="T22" fmla="*/ 98 w 99"/>
                <a:gd name="T23" fmla="*/ 129 h 301"/>
                <a:gd name="T24" fmla="*/ 99 w 99"/>
                <a:gd name="T25" fmla="*/ 138 h 301"/>
                <a:gd name="T26" fmla="*/ 99 w 99"/>
                <a:gd name="T27" fmla="*/ 148 h 301"/>
                <a:gd name="T28" fmla="*/ 99 w 99"/>
                <a:gd name="T29" fmla="*/ 289 h 301"/>
                <a:gd name="T30" fmla="*/ 89 w 99"/>
                <a:gd name="T31" fmla="*/ 290 h 301"/>
                <a:gd name="T32" fmla="*/ 80 w 99"/>
                <a:gd name="T33" fmla="*/ 293 h 301"/>
                <a:gd name="T34" fmla="*/ 73 w 99"/>
                <a:gd name="T35" fmla="*/ 297 h 301"/>
                <a:gd name="T36" fmla="*/ 66 w 99"/>
                <a:gd name="T37" fmla="*/ 301 h 301"/>
                <a:gd name="T38" fmla="*/ 59 w 99"/>
                <a:gd name="T39" fmla="*/ 290 h 301"/>
                <a:gd name="T40" fmla="*/ 54 w 99"/>
                <a:gd name="T41" fmla="*/ 280 h 301"/>
                <a:gd name="T42" fmla="*/ 48 w 99"/>
                <a:gd name="T43" fmla="*/ 271 h 301"/>
                <a:gd name="T44" fmla="*/ 45 w 99"/>
                <a:gd name="T45" fmla="*/ 262 h 301"/>
                <a:gd name="T46" fmla="*/ 43 w 99"/>
                <a:gd name="T47" fmla="*/ 252 h 301"/>
                <a:gd name="T48" fmla="*/ 41 w 99"/>
                <a:gd name="T49" fmla="*/ 242 h 301"/>
                <a:gd name="T50" fmla="*/ 40 w 99"/>
                <a:gd name="T51" fmla="*/ 232 h 301"/>
                <a:gd name="T52" fmla="*/ 40 w 99"/>
                <a:gd name="T53" fmla="*/ 222 h 301"/>
                <a:gd name="T54" fmla="*/ 40 w 99"/>
                <a:gd name="T55" fmla="*/ 141 h 301"/>
                <a:gd name="T56" fmla="*/ 0 w 99"/>
                <a:gd name="T57" fmla="*/ 6 h 301"/>
                <a:gd name="T58" fmla="*/ 5 w 99"/>
                <a:gd name="T59" fmla="*/ 2 h 301"/>
                <a:gd name="T60" fmla="*/ 10 w 99"/>
                <a:gd name="T61" fmla="*/ 0 h 301"/>
                <a:gd name="T62" fmla="*/ 14 w 99"/>
                <a:gd name="T63" fmla="*/ 0 h 301"/>
                <a:gd name="T64" fmla="*/ 20 w 99"/>
                <a:gd name="T65" fmla="*/ 0 h 301"/>
                <a:gd name="T66" fmla="*/ 26 w 99"/>
                <a:gd name="T67" fmla="*/ 0 h 301"/>
                <a:gd name="T68" fmla="*/ 32 w 99"/>
                <a:gd name="T69" fmla="*/ 2 h 301"/>
                <a:gd name="T70" fmla="*/ 37 w 99"/>
                <a:gd name="T71" fmla="*/ 4 h 301"/>
                <a:gd name="T72" fmla="*/ 41 w 99"/>
                <a:gd name="T73" fmla="*/ 6 h 301"/>
                <a:gd name="T74" fmla="*/ 47 w 99"/>
                <a:gd name="T75" fmla="*/ 10 h 301"/>
                <a:gd name="T76" fmla="*/ 53 w 99"/>
                <a:gd name="T77" fmla="*/ 12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01" name="Freeform 269"/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4038600" y="3275013"/>
              <a:ext cx="76200" cy="188912"/>
            </a:xfrm>
            <a:custGeom>
              <a:avLst/>
              <a:gdLst>
                <a:gd name="T0" fmla="*/ 0 w 173"/>
                <a:gd name="T1" fmla="*/ 80 h 357"/>
                <a:gd name="T2" fmla="*/ 9 w 173"/>
                <a:gd name="T3" fmla="*/ 72 h 357"/>
                <a:gd name="T4" fmla="*/ 17 w 173"/>
                <a:gd name="T5" fmla="*/ 65 h 357"/>
                <a:gd name="T6" fmla="*/ 25 w 173"/>
                <a:gd name="T7" fmla="*/ 60 h 357"/>
                <a:gd name="T8" fmla="*/ 33 w 173"/>
                <a:gd name="T9" fmla="*/ 56 h 357"/>
                <a:gd name="T10" fmla="*/ 40 w 173"/>
                <a:gd name="T11" fmla="*/ 50 h 357"/>
                <a:gd name="T12" fmla="*/ 67 w 173"/>
                <a:gd name="T13" fmla="*/ 50 h 357"/>
                <a:gd name="T14" fmla="*/ 94 w 173"/>
                <a:gd name="T15" fmla="*/ 0 h 357"/>
                <a:gd name="T16" fmla="*/ 101 w 173"/>
                <a:gd name="T17" fmla="*/ 3 h 357"/>
                <a:gd name="T18" fmla="*/ 108 w 173"/>
                <a:gd name="T19" fmla="*/ 7 h 357"/>
                <a:gd name="T20" fmla="*/ 116 w 173"/>
                <a:gd name="T21" fmla="*/ 12 h 357"/>
                <a:gd name="T22" fmla="*/ 123 w 173"/>
                <a:gd name="T23" fmla="*/ 18 h 357"/>
                <a:gd name="T24" fmla="*/ 131 w 173"/>
                <a:gd name="T25" fmla="*/ 22 h 357"/>
                <a:gd name="T26" fmla="*/ 139 w 173"/>
                <a:gd name="T27" fmla="*/ 27 h 357"/>
                <a:gd name="T28" fmla="*/ 145 w 173"/>
                <a:gd name="T29" fmla="*/ 29 h 357"/>
                <a:gd name="T30" fmla="*/ 153 w 173"/>
                <a:gd name="T31" fmla="*/ 30 h 357"/>
                <a:gd name="T32" fmla="*/ 163 w 173"/>
                <a:gd name="T33" fmla="*/ 39 h 357"/>
                <a:gd name="T34" fmla="*/ 173 w 173"/>
                <a:gd name="T35" fmla="*/ 50 h 357"/>
                <a:gd name="T36" fmla="*/ 173 w 173"/>
                <a:gd name="T37" fmla="*/ 61 h 357"/>
                <a:gd name="T38" fmla="*/ 173 w 173"/>
                <a:gd name="T39" fmla="*/ 69 h 357"/>
                <a:gd name="T40" fmla="*/ 173 w 173"/>
                <a:gd name="T41" fmla="*/ 80 h 357"/>
                <a:gd name="T42" fmla="*/ 173 w 173"/>
                <a:gd name="T43" fmla="*/ 98 h 357"/>
                <a:gd name="T44" fmla="*/ 173 w 173"/>
                <a:gd name="T45" fmla="*/ 109 h 357"/>
                <a:gd name="T46" fmla="*/ 171 w 173"/>
                <a:gd name="T47" fmla="*/ 118 h 357"/>
                <a:gd name="T48" fmla="*/ 167 w 173"/>
                <a:gd name="T49" fmla="*/ 127 h 357"/>
                <a:gd name="T50" fmla="*/ 163 w 173"/>
                <a:gd name="T51" fmla="*/ 135 h 357"/>
                <a:gd name="T52" fmla="*/ 152 w 173"/>
                <a:gd name="T53" fmla="*/ 151 h 357"/>
                <a:gd name="T54" fmla="*/ 140 w 173"/>
                <a:gd name="T55" fmla="*/ 167 h 357"/>
                <a:gd name="T56" fmla="*/ 128 w 173"/>
                <a:gd name="T57" fmla="*/ 183 h 357"/>
                <a:gd name="T58" fmla="*/ 117 w 173"/>
                <a:gd name="T59" fmla="*/ 200 h 357"/>
                <a:gd name="T60" fmla="*/ 112 w 173"/>
                <a:gd name="T61" fmla="*/ 209 h 357"/>
                <a:gd name="T62" fmla="*/ 109 w 173"/>
                <a:gd name="T63" fmla="*/ 219 h 357"/>
                <a:gd name="T64" fmla="*/ 108 w 173"/>
                <a:gd name="T65" fmla="*/ 229 h 357"/>
                <a:gd name="T66" fmla="*/ 107 w 173"/>
                <a:gd name="T67" fmla="*/ 240 h 357"/>
                <a:gd name="T68" fmla="*/ 108 w 173"/>
                <a:gd name="T69" fmla="*/ 273 h 357"/>
                <a:gd name="T70" fmla="*/ 109 w 173"/>
                <a:gd name="T71" fmla="*/ 293 h 357"/>
                <a:gd name="T72" fmla="*/ 110 w 173"/>
                <a:gd name="T73" fmla="*/ 302 h 357"/>
                <a:gd name="T74" fmla="*/ 109 w 173"/>
                <a:gd name="T75" fmla="*/ 313 h 357"/>
                <a:gd name="T76" fmla="*/ 109 w 173"/>
                <a:gd name="T77" fmla="*/ 327 h 357"/>
                <a:gd name="T78" fmla="*/ 107 w 173"/>
                <a:gd name="T79" fmla="*/ 345 h 357"/>
                <a:gd name="T80" fmla="*/ 97 w 173"/>
                <a:gd name="T81" fmla="*/ 346 h 357"/>
                <a:gd name="T82" fmla="*/ 88 w 173"/>
                <a:gd name="T83" fmla="*/ 347 h 357"/>
                <a:gd name="T84" fmla="*/ 79 w 173"/>
                <a:gd name="T85" fmla="*/ 349 h 357"/>
                <a:gd name="T86" fmla="*/ 71 w 173"/>
                <a:gd name="T87" fmla="*/ 351 h 357"/>
                <a:gd name="T88" fmla="*/ 63 w 173"/>
                <a:gd name="T89" fmla="*/ 353 h 357"/>
                <a:gd name="T90" fmla="*/ 55 w 173"/>
                <a:gd name="T91" fmla="*/ 355 h 357"/>
                <a:gd name="T92" fmla="*/ 48 w 173"/>
                <a:gd name="T93" fmla="*/ 357 h 357"/>
                <a:gd name="T94" fmla="*/ 40 w 173"/>
                <a:gd name="T95" fmla="*/ 357 h 357"/>
                <a:gd name="T96" fmla="*/ 40 w 173"/>
                <a:gd name="T97" fmla="*/ 216 h 357"/>
                <a:gd name="T98" fmla="*/ 40 w 173"/>
                <a:gd name="T99" fmla="*/ 206 h 357"/>
                <a:gd name="T100" fmla="*/ 39 w 173"/>
                <a:gd name="T101" fmla="*/ 197 h 357"/>
                <a:gd name="T102" fmla="*/ 37 w 173"/>
                <a:gd name="T103" fmla="*/ 188 h 357"/>
                <a:gd name="T104" fmla="*/ 34 w 173"/>
                <a:gd name="T105" fmla="*/ 179 h 357"/>
                <a:gd name="T106" fmla="*/ 28 w 173"/>
                <a:gd name="T107" fmla="*/ 161 h 357"/>
                <a:gd name="T108" fmla="*/ 20 w 173"/>
                <a:gd name="T109" fmla="*/ 143 h 357"/>
                <a:gd name="T110" fmla="*/ 13 w 173"/>
                <a:gd name="T111" fmla="*/ 126 h 357"/>
                <a:gd name="T112" fmla="*/ 7 w 173"/>
                <a:gd name="T113" fmla="*/ 110 h 357"/>
                <a:gd name="T114" fmla="*/ 4 w 173"/>
                <a:gd name="T115" fmla="*/ 101 h 357"/>
                <a:gd name="T116" fmla="*/ 3 w 173"/>
                <a:gd name="T117" fmla="*/ 94 h 357"/>
                <a:gd name="T118" fmla="*/ 0 w 173"/>
                <a:gd name="T119" fmla="*/ 87 h 357"/>
                <a:gd name="T120" fmla="*/ 0 w 173"/>
                <a:gd name="T121" fmla="*/ 80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02" name="Freeform 270"/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4767263" y="4479925"/>
              <a:ext cx="25400" cy="60325"/>
            </a:xfrm>
            <a:custGeom>
              <a:avLst/>
              <a:gdLst>
                <a:gd name="T0" fmla="*/ 10 w 50"/>
                <a:gd name="T1" fmla="*/ 0 h 74"/>
                <a:gd name="T2" fmla="*/ 6 w 50"/>
                <a:gd name="T3" fmla="*/ 14 h 74"/>
                <a:gd name="T4" fmla="*/ 2 w 50"/>
                <a:gd name="T5" fmla="*/ 26 h 74"/>
                <a:gd name="T6" fmla="*/ 0 w 50"/>
                <a:gd name="T7" fmla="*/ 36 h 74"/>
                <a:gd name="T8" fmla="*/ 0 w 50"/>
                <a:gd name="T9" fmla="*/ 43 h 74"/>
                <a:gd name="T10" fmla="*/ 0 w 50"/>
                <a:gd name="T11" fmla="*/ 50 h 74"/>
                <a:gd name="T12" fmla="*/ 2 w 50"/>
                <a:gd name="T13" fmla="*/ 56 h 74"/>
                <a:gd name="T14" fmla="*/ 6 w 50"/>
                <a:gd name="T15" fmla="*/ 61 h 74"/>
                <a:gd name="T16" fmla="*/ 10 w 50"/>
                <a:gd name="T17" fmla="*/ 68 h 74"/>
                <a:gd name="T18" fmla="*/ 50 w 50"/>
                <a:gd name="T19" fmla="*/ 74 h 74"/>
                <a:gd name="T20" fmla="*/ 50 w 50"/>
                <a:gd name="T21" fmla="*/ 51 h 74"/>
                <a:gd name="T22" fmla="*/ 50 w 50"/>
                <a:gd name="T23" fmla="*/ 34 h 74"/>
                <a:gd name="T24" fmla="*/ 50 w 50"/>
                <a:gd name="T25" fmla="*/ 19 h 74"/>
                <a:gd name="T26" fmla="*/ 50 w 50"/>
                <a:gd name="T27" fmla="*/ 0 h 74"/>
                <a:gd name="T28" fmla="*/ 38 w 50"/>
                <a:gd name="T29" fmla="*/ 0 h 74"/>
                <a:gd name="T30" fmla="*/ 25 w 50"/>
                <a:gd name="T31" fmla="*/ 0 h 74"/>
                <a:gd name="T32" fmla="*/ 14 w 50"/>
                <a:gd name="T33" fmla="*/ 0 h 74"/>
                <a:gd name="T34" fmla="*/ 10 w 50"/>
                <a:gd name="T3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03" name="Freeform 271"/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4662488" y="4576763"/>
              <a:ext cx="61912" cy="57150"/>
            </a:xfrm>
            <a:custGeom>
              <a:avLst/>
              <a:gdLst>
                <a:gd name="T0" fmla="*/ 3 w 135"/>
                <a:gd name="T1" fmla="*/ 55 h 98"/>
                <a:gd name="T2" fmla="*/ 11 w 135"/>
                <a:gd name="T3" fmla="*/ 54 h 98"/>
                <a:gd name="T4" fmla="*/ 18 w 135"/>
                <a:gd name="T5" fmla="*/ 53 h 98"/>
                <a:gd name="T6" fmla="*/ 24 w 135"/>
                <a:gd name="T7" fmla="*/ 50 h 98"/>
                <a:gd name="T8" fmla="*/ 31 w 135"/>
                <a:gd name="T9" fmla="*/ 47 h 98"/>
                <a:gd name="T10" fmla="*/ 42 w 135"/>
                <a:gd name="T11" fmla="*/ 38 h 98"/>
                <a:gd name="T12" fmla="*/ 52 w 135"/>
                <a:gd name="T13" fmla="*/ 28 h 98"/>
                <a:gd name="T14" fmla="*/ 61 w 135"/>
                <a:gd name="T15" fmla="*/ 18 h 98"/>
                <a:gd name="T16" fmla="*/ 71 w 135"/>
                <a:gd name="T17" fmla="*/ 8 h 98"/>
                <a:gd name="T18" fmla="*/ 76 w 135"/>
                <a:gd name="T19" fmla="*/ 5 h 98"/>
                <a:gd name="T20" fmla="*/ 82 w 135"/>
                <a:gd name="T21" fmla="*/ 2 h 98"/>
                <a:gd name="T22" fmla="*/ 88 w 135"/>
                <a:gd name="T23" fmla="*/ 0 h 98"/>
                <a:gd name="T24" fmla="*/ 96 w 135"/>
                <a:gd name="T25" fmla="*/ 0 h 98"/>
                <a:gd name="T26" fmla="*/ 102 w 135"/>
                <a:gd name="T27" fmla="*/ 0 h 98"/>
                <a:gd name="T28" fmla="*/ 110 w 135"/>
                <a:gd name="T29" fmla="*/ 3 h 98"/>
                <a:gd name="T30" fmla="*/ 117 w 135"/>
                <a:gd name="T31" fmla="*/ 6 h 98"/>
                <a:gd name="T32" fmla="*/ 123 w 135"/>
                <a:gd name="T33" fmla="*/ 11 h 98"/>
                <a:gd name="T34" fmla="*/ 128 w 135"/>
                <a:gd name="T35" fmla="*/ 16 h 98"/>
                <a:gd name="T36" fmla="*/ 132 w 135"/>
                <a:gd name="T37" fmla="*/ 24 h 98"/>
                <a:gd name="T38" fmla="*/ 134 w 135"/>
                <a:gd name="T39" fmla="*/ 30 h 98"/>
                <a:gd name="T40" fmla="*/ 135 w 135"/>
                <a:gd name="T41" fmla="*/ 37 h 98"/>
                <a:gd name="T42" fmla="*/ 134 w 135"/>
                <a:gd name="T43" fmla="*/ 40 h 98"/>
                <a:gd name="T44" fmla="*/ 132 w 135"/>
                <a:gd name="T45" fmla="*/ 43 h 98"/>
                <a:gd name="T46" fmla="*/ 129 w 135"/>
                <a:gd name="T47" fmla="*/ 47 h 98"/>
                <a:gd name="T48" fmla="*/ 124 w 135"/>
                <a:gd name="T49" fmla="*/ 51 h 98"/>
                <a:gd name="T50" fmla="*/ 113 w 135"/>
                <a:gd name="T51" fmla="*/ 61 h 98"/>
                <a:gd name="T52" fmla="*/ 100 w 135"/>
                <a:gd name="T53" fmla="*/ 72 h 98"/>
                <a:gd name="T54" fmla="*/ 87 w 135"/>
                <a:gd name="T55" fmla="*/ 82 h 98"/>
                <a:gd name="T56" fmla="*/ 74 w 135"/>
                <a:gd name="T57" fmla="*/ 91 h 98"/>
                <a:gd name="T58" fmla="*/ 63 w 135"/>
                <a:gd name="T59" fmla="*/ 96 h 98"/>
                <a:gd name="T60" fmla="*/ 55 w 135"/>
                <a:gd name="T61" fmla="*/ 98 h 98"/>
                <a:gd name="T62" fmla="*/ 51 w 135"/>
                <a:gd name="T63" fmla="*/ 97 h 98"/>
                <a:gd name="T64" fmla="*/ 43 w 135"/>
                <a:gd name="T65" fmla="*/ 92 h 98"/>
                <a:gd name="T66" fmla="*/ 32 w 135"/>
                <a:gd name="T67" fmla="*/ 85 h 98"/>
                <a:gd name="T68" fmla="*/ 21 w 135"/>
                <a:gd name="T69" fmla="*/ 77 h 98"/>
                <a:gd name="T70" fmla="*/ 11 w 135"/>
                <a:gd name="T71" fmla="*/ 68 h 98"/>
                <a:gd name="T72" fmla="*/ 5 w 135"/>
                <a:gd name="T73" fmla="*/ 62 h 98"/>
                <a:gd name="T74" fmla="*/ 1 w 135"/>
                <a:gd name="T75" fmla="*/ 59 h 98"/>
                <a:gd name="T76" fmla="*/ 0 w 135"/>
                <a:gd name="T77" fmla="*/ 57 h 98"/>
                <a:gd name="T78" fmla="*/ 0 w 135"/>
                <a:gd name="T79" fmla="*/ 56 h 98"/>
                <a:gd name="T80" fmla="*/ 3 w 135"/>
                <a:gd name="T81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>
                <a:alpha val="47000"/>
              </a:srgb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04" name="Freeform 272"/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6880225" y="2290763"/>
              <a:ext cx="120650" cy="171450"/>
            </a:xfrm>
            <a:custGeom>
              <a:avLst/>
              <a:gdLst>
                <a:gd name="T0" fmla="*/ 240 w 266"/>
                <a:gd name="T1" fmla="*/ 9 h 326"/>
                <a:gd name="T2" fmla="*/ 240 w 266"/>
                <a:gd name="T3" fmla="*/ 28 h 326"/>
                <a:gd name="T4" fmla="*/ 249 w 266"/>
                <a:gd name="T5" fmla="*/ 42 h 326"/>
                <a:gd name="T6" fmla="*/ 245 w 266"/>
                <a:gd name="T7" fmla="*/ 55 h 326"/>
                <a:gd name="T8" fmla="*/ 225 w 266"/>
                <a:gd name="T9" fmla="*/ 50 h 326"/>
                <a:gd name="T10" fmla="*/ 210 w 266"/>
                <a:gd name="T11" fmla="*/ 51 h 326"/>
                <a:gd name="T12" fmla="*/ 195 w 266"/>
                <a:gd name="T13" fmla="*/ 65 h 326"/>
                <a:gd name="T14" fmla="*/ 193 w 266"/>
                <a:gd name="T15" fmla="*/ 78 h 326"/>
                <a:gd name="T16" fmla="*/ 198 w 266"/>
                <a:gd name="T17" fmla="*/ 89 h 326"/>
                <a:gd name="T18" fmla="*/ 215 w 266"/>
                <a:gd name="T19" fmla="*/ 110 h 326"/>
                <a:gd name="T20" fmla="*/ 224 w 266"/>
                <a:gd name="T21" fmla="*/ 122 h 326"/>
                <a:gd name="T22" fmla="*/ 225 w 266"/>
                <a:gd name="T23" fmla="*/ 133 h 326"/>
                <a:gd name="T24" fmla="*/ 222 w 266"/>
                <a:gd name="T25" fmla="*/ 143 h 326"/>
                <a:gd name="T26" fmla="*/ 207 w 266"/>
                <a:gd name="T27" fmla="*/ 154 h 326"/>
                <a:gd name="T28" fmla="*/ 200 w 266"/>
                <a:gd name="T29" fmla="*/ 160 h 326"/>
                <a:gd name="T30" fmla="*/ 181 w 266"/>
                <a:gd name="T31" fmla="*/ 166 h 326"/>
                <a:gd name="T32" fmla="*/ 164 w 266"/>
                <a:gd name="T33" fmla="*/ 178 h 326"/>
                <a:gd name="T34" fmla="*/ 160 w 266"/>
                <a:gd name="T35" fmla="*/ 191 h 326"/>
                <a:gd name="T36" fmla="*/ 173 w 266"/>
                <a:gd name="T37" fmla="*/ 207 h 326"/>
                <a:gd name="T38" fmla="*/ 189 w 266"/>
                <a:gd name="T39" fmla="*/ 215 h 326"/>
                <a:gd name="T40" fmla="*/ 214 w 266"/>
                <a:gd name="T41" fmla="*/ 227 h 326"/>
                <a:gd name="T42" fmla="*/ 245 w 266"/>
                <a:gd name="T43" fmla="*/ 259 h 326"/>
                <a:gd name="T44" fmla="*/ 251 w 266"/>
                <a:gd name="T45" fmla="*/ 285 h 326"/>
                <a:gd name="T46" fmla="*/ 220 w 266"/>
                <a:gd name="T47" fmla="*/ 291 h 326"/>
                <a:gd name="T48" fmla="*/ 207 w 266"/>
                <a:gd name="T49" fmla="*/ 298 h 326"/>
                <a:gd name="T50" fmla="*/ 198 w 266"/>
                <a:gd name="T51" fmla="*/ 312 h 326"/>
                <a:gd name="T52" fmla="*/ 189 w 266"/>
                <a:gd name="T53" fmla="*/ 326 h 326"/>
                <a:gd name="T54" fmla="*/ 170 w 266"/>
                <a:gd name="T55" fmla="*/ 321 h 326"/>
                <a:gd name="T56" fmla="*/ 167 w 266"/>
                <a:gd name="T57" fmla="*/ 316 h 326"/>
                <a:gd name="T58" fmla="*/ 154 w 266"/>
                <a:gd name="T59" fmla="*/ 310 h 326"/>
                <a:gd name="T60" fmla="*/ 139 w 266"/>
                <a:gd name="T61" fmla="*/ 301 h 326"/>
                <a:gd name="T62" fmla="*/ 126 w 266"/>
                <a:gd name="T63" fmla="*/ 295 h 326"/>
                <a:gd name="T64" fmla="*/ 98 w 266"/>
                <a:gd name="T65" fmla="*/ 290 h 326"/>
                <a:gd name="T66" fmla="*/ 63 w 266"/>
                <a:gd name="T67" fmla="*/ 277 h 326"/>
                <a:gd name="T68" fmla="*/ 54 w 266"/>
                <a:gd name="T69" fmla="*/ 268 h 326"/>
                <a:gd name="T70" fmla="*/ 55 w 266"/>
                <a:gd name="T71" fmla="*/ 256 h 326"/>
                <a:gd name="T72" fmla="*/ 70 w 266"/>
                <a:gd name="T73" fmla="*/ 244 h 326"/>
                <a:gd name="T74" fmla="*/ 59 w 266"/>
                <a:gd name="T75" fmla="*/ 221 h 326"/>
                <a:gd name="T76" fmla="*/ 34 w 266"/>
                <a:gd name="T77" fmla="*/ 194 h 326"/>
                <a:gd name="T78" fmla="*/ 13 w 266"/>
                <a:gd name="T79" fmla="*/ 182 h 326"/>
                <a:gd name="T80" fmla="*/ 4 w 266"/>
                <a:gd name="T81" fmla="*/ 171 h 326"/>
                <a:gd name="T82" fmla="*/ 19 w 266"/>
                <a:gd name="T83" fmla="*/ 152 h 326"/>
                <a:gd name="T84" fmla="*/ 54 w 266"/>
                <a:gd name="T85" fmla="*/ 124 h 326"/>
                <a:gd name="T86" fmla="*/ 73 w 266"/>
                <a:gd name="T87" fmla="*/ 105 h 326"/>
                <a:gd name="T88" fmla="*/ 88 w 266"/>
                <a:gd name="T89" fmla="*/ 92 h 326"/>
                <a:gd name="T90" fmla="*/ 110 w 266"/>
                <a:gd name="T91" fmla="*/ 88 h 326"/>
                <a:gd name="T92" fmla="*/ 144 w 266"/>
                <a:gd name="T93" fmla="*/ 70 h 326"/>
                <a:gd name="T94" fmla="*/ 168 w 266"/>
                <a:gd name="T95" fmla="*/ 46 h 326"/>
                <a:gd name="T96" fmla="*/ 191 w 266"/>
                <a:gd name="T97" fmla="*/ 21 h 326"/>
                <a:gd name="T98" fmla="*/ 220 w 266"/>
                <a:gd name="T99" fmla="*/ 4 h 326"/>
                <a:gd name="T100" fmla="*/ 238 w 266"/>
                <a:gd name="T101" fmla="*/ 0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05" name="Freeform 273"/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5951538" y="2705100"/>
              <a:ext cx="206375" cy="123825"/>
            </a:xfrm>
            <a:custGeom>
              <a:avLst/>
              <a:gdLst>
                <a:gd name="T0" fmla="*/ 86 w 471"/>
                <a:gd name="T1" fmla="*/ 0 h 237"/>
                <a:gd name="T2" fmla="*/ 92 w 471"/>
                <a:gd name="T3" fmla="*/ 7 h 237"/>
                <a:gd name="T4" fmla="*/ 102 w 471"/>
                <a:gd name="T5" fmla="*/ 13 h 237"/>
                <a:gd name="T6" fmla="*/ 125 w 471"/>
                <a:gd name="T7" fmla="*/ 23 h 237"/>
                <a:gd name="T8" fmla="*/ 159 w 471"/>
                <a:gd name="T9" fmla="*/ 37 h 237"/>
                <a:gd name="T10" fmla="*/ 223 w 471"/>
                <a:gd name="T11" fmla="*/ 77 h 237"/>
                <a:gd name="T12" fmla="*/ 253 w 471"/>
                <a:gd name="T13" fmla="*/ 97 h 237"/>
                <a:gd name="T14" fmla="*/ 283 w 471"/>
                <a:gd name="T15" fmla="*/ 113 h 237"/>
                <a:gd name="T16" fmla="*/ 316 w 471"/>
                <a:gd name="T17" fmla="*/ 127 h 237"/>
                <a:gd name="T18" fmla="*/ 355 w 471"/>
                <a:gd name="T19" fmla="*/ 139 h 237"/>
                <a:gd name="T20" fmla="*/ 399 w 471"/>
                <a:gd name="T21" fmla="*/ 146 h 237"/>
                <a:gd name="T22" fmla="*/ 451 w 471"/>
                <a:gd name="T23" fmla="*/ 148 h 237"/>
                <a:gd name="T24" fmla="*/ 452 w 471"/>
                <a:gd name="T25" fmla="*/ 187 h 237"/>
                <a:gd name="T26" fmla="*/ 459 w 471"/>
                <a:gd name="T27" fmla="*/ 211 h 237"/>
                <a:gd name="T28" fmla="*/ 467 w 471"/>
                <a:gd name="T29" fmla="*/ 227 h 237"/>
                <a:gd name="T30" fmla="*/ 467 w 471"/>
                <a:gd name="T31" fmla="*/ 236 h 237"/>
                <a:gd name="T32" fmla="*/ 451 w 471"/>
                <a:gd name="T33" fmla="*/ 236 h 237"/>
                <a:gd name="T34" fmla="*/ 416 w 471"/>
                <a:gd name="T35" fmla="*/ 231 h 237"/>
                <a:gd name="T36" fmla="*/ 362 w 471"/>
                <a:gd name="T37" fmla="*/ 219 h 237"/>
                <a:gd name="T38" fmla="*/ 315 w 471"/>
                <a:gd name="T39" fmla="*/ 207 h 237"/>
                <a:gd name="T40" fmla="*/ 294 w 471"/>
                <a:gd name="T41" fmla="*/ 203 h 237"/>
                <a:gd name="T42" fmla="*/ 287 w 471"/>
                <a:gd name="T43" fmla="*/ 199 h 237"/>
                <a:gd name="T44" fmla="*/ 277 w 471"/>
                <a:gd name="T45" fmla="*/ 190 h 237"/>
                <a:gd name="T46" fmla="*/ 267 w 471"/>
                <a:gd name="T47" fmla="*/ 178 h 237"/>
                <a:gd name="T48" fmla="*/ 255 w 471"/>
                <a:gd name="T49" fmla="*/ 166 h 237"/>
                <a:gd name="T50" fmla="*/ 240 w 471"/>
                <a:gd name="T51" fmla="*/ 159 h 237"/>
                <a:gd name="T52" fmla="*/ 227 w 471"/>
                <a:gd name="T53" fmla="*/ 159 h 237"/>
                <a:gd name="T54" fmla="*/ 205 w 471"/>
                <a:gd name="T55" fmla="*/ 163 h 237"/>
                <a:gd name="T56" fmla="*/ 183 w 471"/>
                <a:gd name="T57" fmla="*/ 167 h 237"/>
                <a:gd name="T58" fmla="*/ 169 w 471"/>
                <a:gd name="T59" fmla="*/ 168 h 237"/>
                <a:gd name="T60" fmla="*/ 158 w 471"/>
                <a:gd name="T61" fmla="*/ 164 h 237"/>
                <a:gd name="T62" fmla="*/ 148 w 471"/>
                <a:gd name="T63" fmla="*/ 155 h 237"/>
                <a:gd name="T64" fmla="*/ 139 w 471"/>
                <a:gd name="T65" fmla="*/ 148 h 237"/>
                <a:gd name="T66" fmla="*/ 122 w 471"/>
                <a:gd name="T67" fmla="*/ 145 h 237"/>
                <a:gd name="T68" fmla="*/ 92 w 471"/>
                <a:gd name="T69" fmla="*/ 135 h 237"/>
                <a:gd name="T70" fmla="*/ 48 w 471"/>
                <a:gd name="T71" fmla="*/ 117 h 237"/>
                <a:gd name="T72" fmla="*/ 12 w 471"/>
                <a:gd name="T73" fmla="*/ 96 h 237"/>
                <a:gd name="T74" fmla="*/ 7 w 471"/>
                <a:gd name="T75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06" name="Freeform 274"/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6167438" y="2760663"/>
              <a:ext cx="73025" cy="65087"/>
            </a:xfrm>
            <a:custGeom>
              <a:avLst/>
              <a:gdLst>
                <a:gd name="T0" fmla="*/ 167 w 167"/>
                <a:gd name="T1" fmla="*/ 43 h 123"/>
                <a:gd name="T2" fmla="*/ 164 w 167"/>
                <a:gd name="T3" fmla="*/ 54 h 123"/>
                <a:gd name="T4" fmla="*/ 161 w 167"/>
                <a:gd name="T5" fmla="*/ 66 h 123"/>
                <a:gd name="T6" fmla="*/ 155 w 167"/>
                <a:gd name="T7" fmla="*/ 79 h 123"/>
                <a:gd name="T8" fmla="*/ 150 w 167"/>
                <a:gd name="T9" fmla="*/ 93 h 123"/>
                <a:gd name="T10" fmla="*/ 146 w 167"/>
                <a:gd name="T11" fmla="*/ 99 h 123"/>
                <a:gd name="T12" fmla="*/ 142 w 167"/>
                <a:gd name="T13" fmla="*/ 105 h 123"/>
                <a:gd name="T14" fmla="*/ 138 w 167"/>
                <a:gd name="T15" fmla="*/ 110 h 123"/>
                <a:gd name="T16" fmla="*/ 132 w 167"/>
                <a:gd name="T17" fmla="*/ 114 h 123"/>
                <a:gd name="T18" fmla="*/ 127 w 167"/>
                <a:gd name="T19" fmla="*/ 118 h 123"/>
                <a:gd name="T20" fmla="*/ 121 w 167"/>
                <a:gd name="T21" fmla="*/ 121 h 123"/>
                <a:gd name="T22" fmla="*/ 115 w 167"/>
                <a:gd name="T23" fmla="*/ 122 h 123"/>
                <a:gd name="T24" fmla="*/ 107 w 167"/>
                <a:gd name="T25" fmla="*/ 123 h 123"/>
                <a:gd name="T26" fmla="*/ 100 w 167"/>
                <a:gd name="T27" fmla="*/ 122 h 123"/>
                <a:gd name="T28" fmla="*/ 92 w 167"/>
                <a:gd name="T29" fmla="*/ 119 h 123"/>
                <a:gd name="T30" fmla="*/ 87 w 167"/>
                <a:gd name="T31" fmla="*/ 116 h 123"/>
                <a:gd name="T32" fmla="*/ 84 w 167"/>
                <a:gd name="T33" fmla="*/ 113 h 123"/>
                <a:gd name="T34" fmla="*/ 82 w 167"/>
                <a:gd name="T35" fmla="*/ 109 h 123"/>
                <a:gd name="T36" fmla="*/ 81 w 167"/>
                <a:gd name="T37" fmla="*/ 105 h 123"/>
                <a:gd name="T38" fmla="*/ 71 w 167"/>
                <a:gd name="T39" fmla="*/ 104 h 123"/>
                <a:gd name="T40" fmla="*/ 61 w 167"/>
                <a:gd name="T41" fmla="*/ 103 h 123"/>
                <a:gd name="T42" fmla="*/ 51 w 167"/>
                <a:gd name="T43" fmla="*/ 101 h 123"/>
                <a:gd name="T44" fmla="*/ 41 w 167"/>
                <a:gd name="T45" fmla="*/ 98 h 123"/>
                <a:gd name="T46" fmla="*/ 21 w 167"/>
                <a:gd name="T47" fmla="*/ 92 h 123"/>
                <a:gd name="T48" fmla="*/ 0 w 167"/>
                <a:gd name="T49" fmla="*/ 86 h 123"/>
                <a:gd name="T50" fmla="*/ 2 w 167"/>
                <a:gd name="T51" fmla="*/ 77 h 123"/>
                <a:gd name="T52" fmla="*/ 5 w 167"/>
                <a:gd name="T53" fmla="*/ 67 h 123"/>
                <a:gd name="T54" fmla="*/ 9 w 167"/>
                <a:gd name="T55" fmla="*/ 56 h 123"/>
                <a:gd name="T56" fmla="*/ 15 w 167"/>
                <a:gd name="T57" fmla="*/ 43 h 123"/>
                <a:gd name="T58" fmla="*/ 20 w 167"/>
                <a:gd name="T59" fmla="*/ 43 h 123"/>
                <a:gd name="T60" fmla="*/ 26 w 167"/>
                <a:gd name="T61" fmla="*/ 42 h 123"/>
                <a:gd name="T62" fmla="*/ 30 w 167"/>
                <a:gd name="T63" fmla="*/ 41 h 123"/>
                <a:gd name="T64" fmla="*/ 33 w 167"/>
                <a:gd name="T65" fmla="*/ 38 h 123"/>
                <a:gd name="T66" fmla="*/ 40 w 167"/>
                <a:gd name="T67" fmla="*/ 33 h 123"/>
                <a:gd name="T68" fmla="*/ 45 w 167"/>
                <a:gd name="T69" fmla="*/ 26 h 123"/>
                <a:gd name="T70" fmla="*/ 52 w 167"/>
                <a:gd name="T71" fmla="*/ 12 h 123"/>
                <a:gd name="T72" fmla="*/ 61 w 167"/>
                <a:gd name="T73" fmla="*/ 0 h 123"/>
                <a:gd name="T74" fmla="*/ 64 w 167"/>
                <a:gd name="T75" fmla="*/ 4 h 123"/>
                <a:gd name="T76" fmla="*/ 67 w 167"/>
                <a:gd name="T77" fmla="*/ 7 h 123"/>
                <a:gd name="T78" fmla="*/ 73 w 167"/>
                <a:gd name="T79" fmla="*/ 11 h 123"/>
                <a:gd name="T80" fmla="*/ 78 w 167"/>
                <a:gd name="T81" fmla="*/ 14 h 123"/>
                <a:gd name="T82" fmla="*/ 92 w 167"/>
                <a:gd name="T83" fmla="*/ 21 h 123"/>
                <a:gd name="T84" fmla="*/ 107 w 167"/>
                <a:gd name="T85" fmla="*/ 28 h 123"/>
                <a:gd name="T86" fmla="*/ 122 w 167"/>
                <a:gd name="T87" fmla="*/ 35 h 123"/>
                <a:gd name="T88" fmla="*/ 139 w 167"/>
                <a:gd name="T89" fmla="*/ 39 h 123"/>
                <a:gd name="T90" fmla="*/ 153 w 167"/>
                <a:gd name="T91" fmla="*/ 42 h 123"/>
                <a:gd name="T92" fmla="*/ 167 w 167"/>
                <a:gd name="T93" fmla="*/ 4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07" name="Freeform 275"/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6157913" y="2832100"/>
              <a:ext cx="133350" cy="166688"/>
            </a:xfrm>
            <a:custGeom>
              <a:avLst/>
              <a:gdLst>
                <a:gd name="T0" fmla="*/ 259 w 306"/>
                <a:gd name="T1" fmla="*/ 160 h 321"/>
                <a:gd name="T2" fmla="*/ 252 w 306"/>
                <a:gd name="T3" fmla="*/ 173 h 321"/>
                <a:gd name="T4" fmla="*/ 243 w 306"/>
                <a:gd name="T5" fmla="*/ 182 h 321"/>
                <a:gd name="T6" fmla="*/ 233 w 306"/>
                <a:gd name="T7" fmla="*/ 186 h 321"/>
                <a:gd name="T8" fmla="*/ 223 w 306"/>
                <a:gd name="T9" fmla="*/ 184 h 321"/>
                <a:gd name="T10" fmla="*/ 214 w 306"/>
                <a:gd name="T11" fmla="*/ 178 h 321"/>
                <a:gd name="T12" fmla="*/ 209 w 306"/>
                <a:gd name="T13" fmla="*/ 169 h 321"/>
                <a:gd name="T14" fmla="*/ 206 w 306"/>
                <a:gd name="T15" fmla="*/ 160 h 321"/>
                <a:gd name="T16" fmla="*/ 209 w 306"/>
                <a:gd name="T17" fmla="*/ 148 h 321"/>
                <a:gd name="T18" fmla="*/ 213 w 306"/>
                <a:gd name="T19" fmla="*/ 136 h 321"/>
                <a:gd name="T20" fmla="*/ 230 w 306"/>
                <a:gd name="T21" fmla="*/ 114 h 321"/>
                <a:gd name="T22" fmla="*/ 246 w 306"/>
                <a:gd name="T23" fmla="*/ 93 h 321"/>
                <a:gd name="T24" fmla="*/ 250 w 306"/>
                <a:gd name="T25" fmla="*/ 82 h 321"/>
                <a:gd name="T26" fmla="*/ 253 w 306"/>
                <a:gd name="T27" fmla="*/ 69 h 321"/>
                <a:gd name="T28" fmla="*/ 129 w 306"/>
                <a:gd name="T29" fmla="*/ 68 h 321"/>
                <a:gd name="T30" fmla="*/ 119 w 306"/>
                <a:gd name="T31" fmla="*/ 59 h 321"/>
                <a:gd name="T32" fmla="*/ 112 w 306"/>
                <a:gd name="T33" fmla="*/ 45 h 321"/>
                <a:gd name="T34" fmla="*/ 108 w 306"/>
                <a:gd name="T35" fmla="*/ 28 h 321"/>
                <a:gd name="T36" fmla="*/ 101 w 306"/>
                <a:gd name="T37" fmla="*/ 19 h 321"/>
                <a:gd name="T38" fmla="*/ 90 w 306"/>
                <a:gd name="T39" fmla="*/ 17 h 321"/>
                <a:gd name="T40" fmla="*/ 80 w 306"/>
                <a:gd name="T41" fmla="*/ 12 h 321"/>
                <a:gd name="T42" fmla="*/ 75 w 306"/>
                <a:gd name="T43" fmla="*/ 4 h 321"/>
                <a:gd name="T44" fmla="*/ 65 w 306"/>
                <a:gd name="T45" fmla="*/ 0 h 321"/>
                <a:gd name="T46" fmla="*/ 49 w 306"/>
                <a:gd name="T47" fmla="*/ 0 h 321"/>
                <a:gd name="T48" fmla="*/ 34 w 306"/>
                <a:gd name="T49" fmla="*/ 1 h 321"/>
                <a:gd name="T50" fmla="*/ 22 w 306"/>
                <a:gd name="T51" fmla="*/ 5 h 321"/>
                <a:gd name="T52" fmla="*/ 10 w 306"/>
                <a:gd name="T53" fmla="*/ 14 h 321"/>
                <a:gd name="T54" fmla="*/ 1 w 306"/>
                <a:gd name="T55" fmla="*/ 25 h 321"/>
                <a:gd name="T56" fmla="*/ 2 w 306"/>
                <a:gd name="T57" fmla="*/ 35 h 321"/>
                <a:gd name="T58" fmla="*/ 15 w 306"/>
                <a:gd name="T59" fmla="*/ 46 h 321"/>
                <a:gd name="T60" fmla="*/ 35 w 306"/>
                <a:gd name="T61" fmla="*/ 58 h 321"/>
                <a:gd name="T62" fmla="*/ 54 w 306"/>
                <a:gd name="T63" fmla="*/ 67 h 321"/>
                <a:gd name="T64" fmla="*/ 47 w 306"/>
                <a:gd name="T65" fmla="*/ 79 h 321"/>
                <a:gd name="T66" fmla="*/ 25 w 306"/>
                <a:gd name="T67" fmla="*/ 97 h 321"/>
                <a:gd name="T68" fmla="*/ 17 w 306"/>
                <a:gd name="T69" fmla="*/ 107 h 321"/>
                <a:gd name="T70" fmla="*/ 14 w 306"/>
                <a:gd name="T71" fmla="*/ 114 h 321"/>
                <a:gd name="T72" fmla="*/ 14 w 306"/>
                <a:gd name="T73" fmla="*/ 122 h 321"/>
                <a:gd name="T74" fmla="*/ 18 w 306"/>
                <a:gd name="T75" fmla="*/ 129 h 321"/>
                <a:gd name="T76" fmla="*/ 28 w 306"/>
                <a:gd name="T77" fmla="*/ 141 h 321"/>
                <a:gd name="T78" fmla="*/ 47 w 306"/>
                <a:gd name="T79" fmla="*/ 156 h 321"/>
                <a:gd name="T80" fmla="*/ 64 w 306"/>
                <a:gd name="T81" fmla="*/ 164 h 321"/>
                <a:gd name="T82" fmla="*/ 75 w 306"/>
                <a:gd name="T83" fmla="*/ 166 h 321"/>
                <a:gd name="T84" fmla="*/ 107 w 306"/>
                <a:gd name="T85" fmla="*/ 271 h 321"/>
                <a:gd name="T86" fmla="*/ 108 w 306"/>
                <a:gd name="T87" fmla="*/ 263 h 321"/>
                <a:gd name="T88" fmla="*/ 112 w 306"/>
                <a:gd name="T89" fmla="*/ 256 h 321"/>
                <a:gd name="T90" fmla="*/ 127 w 306"/>
                <a:gd name="T91" fmla="*/ 246 h 321"/>
                <a:gd name="T92" fmla="*/ 148 w 306"/>
                <a:gd name="T93" fmla="*/ 240 h 321"/>
                <a:gd name="T94" fmla="*/ 174 w 306"/>
                <a:gd name="T95" fmla="*/ 235 h 321"/>
                <a:gd name="T96" fmla="*/ 174 w 306"/>
                <a:gd name="T97" fmla="*/ 210 h 321"/>
                <a:gd name="T98" fmla="*/ 183 w 306"/>
                <a:gd name="T99" fmla="*/ 212 h 321"/>
                <a:gd name="T100" fmla="*/ 193 w 306"/>
                <a:gd name="T101" fmla="*/ 212 h 321"/>
                <a:gd name="T102" fmla="*/ 213 w 306"/>
                <a:gd name="T103" fmla="*/ 210 h 321"/>
                <a:gd name="T104" fmla="*/ 232 w 306"/>
                <a:gd name="T105" fmla="*/ 261 h 321"/>
                <a:gd name="T106" fmla="*/ 259 w 306"/>
                <a:gd name="T107" fmla="*/ 321 h 321"/>
                <a:gd name="T108" fmla="*/ 272 w 306"/>
                <a:gd name="T109" fmla="*/ 311 h 321"/>
                <a:gd name="T110" fmla="*/ 282 w 306"/>
                <a:gd name="T111" fmla="*/ 302 h 321"/>
                <a:gd name="T112" fmla="*/ 295 w 306"/>
                <a:gd name="T113" fmla="*/ 280 h 321"/>
                <a:gd name="T114" fmla="*/ 306 w 306"/>
                <a:gd name="T115" fmla="*/ 235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08" name="Freeform 276"/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6475413" y="2947988"/>
              <a:ext cx="201612" cy="269875"/>
            </a:xfrm>
            <a:custGeom>
              <a:avLst/>
              <a:gdLst>
                <a:gd name="T0" fmla="*/ 94 w 471"/>
                <a:gd name="T1" fmla="*/ 12 h 518"/>
                <a:gd name="T2" fmla="*/ 67 w 471"/>
                <a:gd name="T3" fmla="*/ 32 h 518"/>
                <a:gd name="T4" fmla="*/ 40 w 471"/>
                <a:gd name="T5" fmla="*/ 49 h 518"/>
                <a:gd name="T6" fmla="*/ 27 w 471"/>
                <a:gd name="T7" fmla="*/ 82 h 518"/>
                <a:gd name="T8" fmla="*/ 8 w 471"/>
                <a:gd name="T9" fmla="*/ 118 h 518"/>
                <a:gd name="T10" fmla="*/ 7 w 471"/>
                <a:gd name="T11" fmla="*/ 136 h 518"/>
                <a:gd name="T12" fmla="*/ 30 w 471"/>
                <a:gd name="T13" fmla="*/ 153 h 518"/>
                <a:gd name="T14" fmla="*/ 50 w 471"/>
                <a:gd name="T15" fmla="*/ 168 h 518"/>
                <a:gd name="T16" fmla="*/ 62 w 471"/>
                <a:gd name="T17" fmla="*/ 172 h 518"/>
                <a:gd name="T18" fmla="*/ 75 w 471"/>
                <a:gd name="T19" fmla="*/ 211 h 518"/>
                <a:gd name="T20" fmla="*/ 84 w 471"/>
                <a:gd name="T21" fmla="*/ 272 h 518"/>
                <a:gd name="T22" fmla="*/ 94 w 471"/>
                <a:gd name="T23" fmla="*/ 299 h 518"/>
                <a:gd name="T24" fmla="*/ 104 w 471"/>
                <a:gd name="T25" fmla="*/ 302 h 518"/>
                <a:gd name="T26" fmla="*/ 112 w 471"/>
                <a:gd name="T27" fmla="*/ 297 h 518"/>
                <a:gd name="T28" fmla="*/ 128 w 471"/>
                <a:gd name="T29" fmla="*/ 268 h 518"/>
                <a:gd name="T30" fmla="*/ 145 w 471"/>
                <a:gd name="T31" fmla="*/ 262 h 518"/>
                <a:gd name="T32" fmla="*/ 160 w 471"/>
                <a:gd name="T33" fmla="*/ 272 h 518"/>
                <a:gd name="T34" fmla="*/ 173 w 471"/>
                <a:gd name="T35" fmla="*/ 277 h 518"/>
                <a:gd name="T36" fmla="*/ 183 w 471"/>
                <a:gd name="T37" fmla="*/ 274 h 518"/>
                <a:gd name="T38" fmla="*/ 192 w 471"/>
                <a:gd name="T39" fmla="*/ 259 h 518"/>
                <a:gd name="T40" fmla="*/ 203 w 471"/>
                <a:gd name="T41" fmla="*/ 244 h 518"/>
                <a:gd name="T42" fmla="*/ 212 w 471"/>
                <a:gd name="T43" fmla="*/ 241 h 518"/>
                <a:gd name="T44" fmla="*/ 241 w 471"/>
                <a:gd name="T45" fmla="*/ 247 h 518"/>
                <a:gd name="T46" fmla="*/ 259 w 471"/>
                <a:gd name="T47" fmla="*/ 271 h 518"/>
                <a:gd name="T48" fmla="*/ 308 w 471"/>
                <a:gd name="T49" fmla="*/ 336 h 518"/>
                <a:gd name="T50" fmla="*/ 341 w 471"/>
                <a:gd name="T51" fmla="*/ 382 h 518"/>
                <a:gd name="T52" fmla="*/ 358 w 471"/>
                <a:gd name="T53" fmla="*/ 419 h 518"/>
                <a:gd name="T54" fmla="*/ 366 w 471"/>
                <a:gd name="T55" fmla="*/ 457 h 518"/>
                <a:gd name="T56" fmla="*/ 359 w 471"/>
                <a:gd name="T57" fmla="*/ 470 h 518"/>
                <a:gd name="T58" fmla="*/ 339 w 471"/>
                <a:gd name="T59" fmla="*/ 487 h 518"/>
                <a:gd name="T60" fmla="*/ 363 w 471"/>
                <a:gd name="T61" fmla="*/ 496 h 518"/>
                <a:gd name="T62" fmla="*/ 392 w 471"/>
                <a:gd name="T63" fmla="*/ 518 h 518"/>
                <a:gd name="T64" fmla="*/ 401 w 471"/>
                <a:gd name="T65" fmla="*/ 499 h 518"/>
                <a:gd name="T66" fmla="*/ 413 w 471"/>
                <a:gd name="T67" fmla="*/ 489 h 518"/>
                <a:gd name="T68" fmla="*/ 444 w 471"/>
                <a:gd name="T69" fmla="*/ 483 h 518"/>
                <a:gd name="T70" fmla="*/ 468 w 471"/>
                <a:gd name="T71" fmla="*/ 438 h 518"/>
                <a:gd name="T72" fmla="*/ 449 w 471"/>
                <a:gd name="T73" fmla="*/ 387 h 518"/>
                <a:gd name="T74" fmla="*/ 421 w 471"/>
                <a:gd name="T75" fmla="*/ 347 h 518"/>
                <a:gd name="T76" fmla="*/ 345 w 471"/>
                <a:gd name="T77" fmla="*/ 277 h 518"/>
                <a:gd name="T78" fmla="*/ 279 w 471"/>
                <a:gd name="T79" fmla="*/ 218 h 518"/>
                <a:gd name="T80" fmla="*/ 224 w 471"/>
                <a:gd name="T81" fmla="*/ 162 h 518"/>
                <a:gd name="T82" fmla="*/ 179 w 471"/>
                <a:gd name="T83" fmla="*/ 105 h 518"/>
                <a:gd name="T84" fmla="*/ 127 w 471"/>
                <a:gd name="T85" fmla="*/ 40 h 518"/>
                <a:gd name="T86" fmla="*/ 115 w 471"/>
                <a:gd name="T87" fmla="*/ 14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09" name="Freeform 277"/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6557963" y="3198813"/>
              <a:ext cx="133350" cy="130175"/>
            </a:xfrm>
            <a:custGeom>
              <a:avLst/>
              <a:gdLst>
                <a:gd name="T0" fmla="*/ 152 w 293"/>
                <a:gd name="T1" fmla="*/ 19 h 246"/>
                <a:gd name="T2" fmla="*/ 179 w 293"/>
                <a:gd name="T3" fmla="*/ 30 h 246"/>
                <a:gd name="T4" fmla="*/ 196 w 293"/>
                <a:gd name="T5" fmla="*/ 30 h 246"/>
                <a:gd name="T6" fmla="*/ 202 w 293"/>
                <a:gd name="T7" fmla="*/ 18 h 246"/>
                <a:gd name="T8" fmla="*/ 210 w 293"/>
                <a:gd name="T9" fmla="*/ 10 h 246"/>
                <a:gd name="T10" fmla="*/ 219 w 293"/>
                <a:gd name="T11" fmla="*/ 6 h 246"/>
                <a:gd name="T12" fmla="*/ 245 w 293"/>
                <a:gd name="T13" fmla="*/ 2 h 246"/>
                <a:gd name="T14" fmla="*/ 293 w 293"/>
                <a:gd name="T15" fmla="*/ 80 h 246"/>
                <a:gd name="T16" fmla="*/ 266 w 293"/>
                <a:gd name="T17" fmla="*/ 107 h 246"/>
                <a:gd name="T18" fmla="*/ 237 w 293"/>
                <a:gd name="T19" fmla="*/ 141 h 246"/>
                <a:gd name="T20" fmla="*/ 225 w 293"/>
                <a:gd name="T21" fmla="*/ 159 h 246"/>
                <a:gd name="T22" fmla="*/ 215 w 293"/>
                <a:gd name="T23" fmla="*/ 178 h 246"/>
                <a:gd name="T24" fmla="*/ 209 w 293"/>
                <a:gd name="T25" fmla="*/ 197 h 246"/>
                <a:gd name="T26" fmla="*/ 206 w 293"/>
                <a:gd name="T27" fmla="*/ 216 h 246"/>
                <a:gd name="T28" fmla="*/ 196 w 293"/>
                <a:gd name="T29" fmla="*/ 217 h 246"/>
                <a:gd name="T30" fmla="*/ 186 w 293"/>
                <a:gd name="T31" fmla="*/ 220 h 246"/>
                <a:gd name="T32" fmla="*/ 170 w 293"/>
                <a:gd name="T33" fmla="*/ 229 h 246"/>
                <a:gd name="T34" fmla="*/ 154 w 293"/>
                <a:gd name="T35" fmla="*/ 239 h 246"/>
                <a:gd name="T36" fmla="*/ 133 w 293"/>
                <a:gd name="T37" fmla="*/ 246 h 246"/>
                <a:gd name="T38" fmla="*/ 102 w 293"/>
                <a:gd name="T39" fmla="*/ 240 h 246"/>
                <a:gd name="T40" fmla="*/ 71 w 293"/>
                <a:gd name="T41" fmla="*/ 232 h 246"/>
                <a:gd name="T42" fmla="*/ 59 w 293"/>
                <a:gd name="T43" fmla="*/ 226 h 246"/>
                <a:gd name="T44" fmla="*/ 49 w 293"/>
                <a:gd name="T45" fmla="*/ 220 h 246"/>
                <a:gd name="T46" fmla="*/ 43 w 293"/>
                <a:gd name="T47" fmla="*/ 212 h 246"/>
                <a:gd name="T48" fmla="*/ 41 w 293"/>
                <a:gd name="T49" fmla="*/ 204 h 246"/>
                <a:gd name="T50" fmla="*/ 47 w 293"/>
                <a:gd name="T51" fmla="*/ 178 h 246"/>
                <a:gd name="T52" fmla="*/ 45 w 293"/>
                <a:gd name="T53" fmla="*/ 162 h 246"/>
                <a:gd name="T54" fmla="*/ 40 w 293"/>
                <a:gd name="T55" fmla="*/ 147 h 246"/>
                <a:gd name="T56" fmla="*/ 24 w 293"/>
                <a:gd name="T57" fmla="*/ 119 h 246"/>
                <a:gd name="T58" fmla="*/ 8 w 293"/>
                <a:gd name="T59" fmla="*/ 91 h 246"/>
                <a:gd name="T60" fmla="*/ 2 w 293"/>
                <a:gd name="T61" fmla="*/ 74 h 246"/>
                <a:gd name="T62" fmla="*/ 0 w 293"/>
                <a:gd name="T63" fmla="*/ 55 h 246"/>
                <a:gd name="T64" fmla="*/ 2 w 293"/>
                <a:gd name="T65" fmla="*/ 45 h 246"/>
                <a:gd name="T66" fmla="*/ 8 w 293"/>
                <a:gd name="T67" fmla="*/ 36 h 246"/>
                <a:gd name="T68" fmla="*/ 17 w 293"/>
                <a:gd name="T69" fmla="*/ 29 h 246"/>
                <a:gd name="T70" fmla="*/ 26 w 293"/>
                <a:gd name="T71" fmla="*/ 22 h 246"/>
                <a:gd name="T72" fmla="*/ 48 w 293"/>
                <a:gd name="T73" fmla="*/ 14 h 246"/>
                <a:gd name="T74" fmla="*/ 67 w 293"/>
                <a:gd name="T75" fmla="*/ 12 h 246"/>
                <a:gd name="T76" fmla="*/ 96 w 293"/>
                <a:gd name="T77" fmla="*/ 12 h 246"/>
                <a:gd name="T78" fmla="*/ 133 w 293"/>
                <a:gd name="T79" fmla="*/ 1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0" name="Freeform 278"/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6959600" y="2435225"/>
              <a:ext cx="85725" cy="130175"/>
            </a:xfrm>
            <a:custGeom>
              <a:avLst/>
              <a:gdLst>
                <a:gd name="T0" fmla="*/ 18 w 200"/>
                <a:gd name="T1" fmla="*/ 41 h 246"/>
                <a:gd name="T2" fmla="*/ 28 w 200"/>
                <a:gd name="T3" fmla="*/ 26 h 246"/>
                <a:gd name="T4" fmla="*/ 38 w 200"/>
                <a:gd name="T5" fmla="*/ 16 h 246"/>
                <a:gd name="T6" fmla="*/ 50 w 200"/>
                <a:gd name="T7" fmla="*/ 9 h 246"/>
                <a:gd name="T8" fmla="*/ 73 w 200"/>
                <a:gd name="T9" fmla="*/ 1 h 246"/>
                <a:gd name="T10" fmla="*/ 88 w 200"/>
                <a:gd name="T11" fmla="*/ 12 h 246"/>
                <a:gd name="T12" fmla="*/ 108 w 200"/>
                <a:gd name="T13" fmla="*/ 34 h 246"/>
                <a:gd name="T14" fmla="*/ 125 w 200"/>
                <a:gd name="T15" fmla="*/ 50 h 246"/>
                <a:gd name="T16" fmla="*/ 139 w 200"/>
                <a:gd name="T17" fmla="*/ 58 h 246"/>
                <a:gd name="T18" fmla="*/ 152 w 200"/>
                <a:gd name="T19" fmla="*/ 64 h 246"/>
                <a:gd name="T20" fmla="*/ 166 w 200"/>
                <a:gd name="T21" fmla="*/ 67 h 246"/>
                <a:gd name="T22" fmla="*/ 184 w 200"/>
                <a:gd name="T23" fmla="*/ 96 h 246"/>
                <a:gd name="T24" fmla="*/ 195 w 200"/>
                <a:gd name="T25" fmla="*/ 137 h 246"/>
                <a:gd name="T26" fmla="*/ 199 w 200"/>
                <a:gd name="T27" fmla="*/ 165 h 246"/>
                <a:gd name="T28" fmla="*/ 200 w 200"/>
                <a:gd name="T29" fmla="*/ 185 h 246"/>
                <a:gd name="T30" fmla="*/ 198 w 200"/>
                <a:gd name="T31" fmla="*/ 197 h 246"/>
                <a:gd name="T32" fmla="*/ 195 w 200"/>
                <a:gd name="T33" fmla="*/ 207 h 246"/>
                <a:gd name="T34" fmla="*/ 189 w 200"/>
                <a:gd name="T35" fmla="*/ 214 h 246"/>
                <a:gd name="T36" fmla="*/ 179 w 200"/>
                <a:gd name="T37" fmla="*/ 220 h 246"/>
                <a:gd name="T38" fmla="*/ 164 w 200"/>
                <a:gd name="T39" fmla="*/ 224 h 246"/>
                <a:gd name="T40" fmla="*/ 140 w 200"/>
                <a:gd name="T41" fmla="*/ 224 h 246"/>
                <a:gd name="T42" fmla="*/ 118 w 200"/>
                <a:gd name="T43" fmla="*/ 229 h 246"/>
                <a:gd name="T44" fmla="*/ 111 w 200"/>
                <a:gd name="T45" fmla="*/ 235 h 246"/>
                <a:gd name="T46" fmla="*/ 108 w 200"/>
                <a:gd name="T47" fmla="*/ 242 h 246"/>
                <a:gd name="T48" fmla="*/ 98 w 200"/>
                <a:gd name="T49" fmla="*/ 245 h 246"/>
                <a:gd name="T50" fmla="*/ 85 w 200"/>
                <a:gd name="T51" fmla="*/ 240 h 246"/>
                <a:gd name="T52" fmla="*/ 77 w 200"/>
                <a:gd name="T53" fmla="*/ 230 h 246"/>
                <a:gd name="T54" fmla="*/ 73 w 200"/>
                <a:gd name="T55" fmla="*/ 216 h 246"/>
                <a:gd name="T56" fmla="*/ 72 w 200"/>
                <a:gd name="T57" fmla="*/ 192 h 246"/>
                <a:gd name="T58" fmla="*/ 71 w 200"/>
                <a:gd name="T59" fmla="*/ 168 h 246"/>
                <a:gd name="T60" fmla="*/ 69 w 200"/>
                <a:gd name="T61" fmla="*/ 154 h 246"/>
                <a:gd name="T62" fmla="*/ 64 w 200"/>
                <a:gd name="T63" fmla="*/ 142 h 246"/>
                <a:gd name="T64" fmla="*/ 56 w 200"/>
                <a:gd name="T65" fmla="*/ 134 h 246"/>
                <a:gd name="T66" fmla="*/ 40 w 200"/>
                <a:gd name="T67" fmla="*/ 125 h 246"/>
                <a:gd name="T68" fmla="*/ 18 w 200"/>
                <a:gd name="T69" fmla="*/ 115 h 246"/>
                <a:gd name="T70" fmla="*/ 6 w 200"/>
                <a:gd name="T71" fmla="*/ 106 h 246"/>
                <a:gd name="T72" fmla="*/ 1 w 200"/>
                <a:gd name="T73" fmla="*/ 98 h 246"/>
                <a:gd name="T74" fmla="*/ 1 w 200"/>
                <a:gd name="T75" fmla="*/ 87 h 246"/>
                <a:gd name="T76" fmla="*/ 5 w 200"/>
                <a:gd name="T77" fmla="*/ 78 h 246"/>
                <a:gd name="T78" fmla="*/ 10 w 200"/>
                <a:gd name="T79" fmla="*/ 68 h 246"/>
                <a:gd name="T80" fmla="*/ 13 w 200"/>
                <a:gd name="T81" fmla="*/ 5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1" name="Freeform 279"/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7527925" y="3732213"/>
              <a:ext cx="231775" cy="254000"/>
            </a:xfrm>
            <a:custGeom>
              <a:avLst/>
              <a:gdLst>
                <a:gd name="T0" fmla="*/ 91 w 538"/>
                <a:gd name="T1" fmla="*/ 21 h 487"/>
                <a:gd name="T2" fmla="*/ 160 w 538"/>
                <a:gd name="T3" fmla="*/ 47 h 487"/>
                <a:gd name="T4" fmla="*/ 202 w 538"/>
                <a:gd name="T5" fmla="*/ 70 h 487"/>
                <a:gd name="T6" fmla="*/ 253 w 538"/>
                <a:gd name="T7" fmla="*/ 110 h 487"/>
                <a:gd name="T8" fmla="*/ 300 w 538"/>
                <a:gd name="T9" fmla="*/ 136 h 487"/>
                <a:gd name="T10" fmla="*/ 299 w 538"/>
                <a:gd name="T11" fmla="*/ 161 h 487"/>
                <a:gd name="T12" fmla="*/ 347 w 538"/>
                <a:gd name="T13" fmla="*/ 205 h 487"/>
                <a:gd name="T14" fmla="*/ 393 w 538"/>
                <a:gd name="T15" fmla="*/ 248 h 487"/>
                <a:gd name="T16" fmla="*/ 379 w 538"/>
                <a:gd name="T17" fmla="*/ 250 h 487"/>
                <a:gd name="T18" fmla="*/ 372 w 538"/>
                <a:gd name="T19" fmla="*/ 256 h 487"/>
                <a:gd name="T20" fmla="*/ 372 w 538"/>
                <a:gd name="T21" fmla="*/ 278 h 487"/>
                <a:gd name="T22" fmla="*/ 377 w 538"/>
                <a:gd name="T23" fmla="*/ 301 h 487"/>
                <a:gd name="T24" fmla="*/ 389 w 538"/>
                <a:gd name="T25" fmla="*/ 325 h 487"/>
                <a:gd name="T26" fmla="*/ 407 w 538"/>
                <a:gd name="T27" fmla="*/ 348 h 487"/>
                <a:gd name="T28" fmla="*/ 428 w 538"/>
                <a:gd name="T29" fmla="*/ 366 h 487"/>
                <a:gd name="T30" fmla="*/ 451 w 538"/>
                <a:gd name="T31" fmla="*/ 376 h 487"/>
                <a:gd name="T32" fmla="*/ 461 w 538"/>
                <a:gd name="T33" fmla="*/ 390 h 487"/>
                <a:gd name="T34" fmla="*/ 472 w 538"/>
                <a:gd name="T35" fmla="*/ 406 h 487"/>
                <a:gd name="T36" fmla="*/ 489 w 538"/>
                <a:gd name="T37" fmla="*/ 417 h 487"/>
                <a:gd name="T38" fmla="*/ 513 w 538"/>
                <a:gd name="T39" fmla="*/ 432 h 487"/>
                <a:gd name="T40" fmla="*/ 518 w 538"/>
                <a:gd name="T41" fmla="*/ 444 h 487"/>
                <a:gd name="T42" fmla="*/ 525 w 538"/>
                <a:gd name="T43" fmla="*/ 450 h 487"/>
                <a:gd name="T44" fmla="*/ 538 w 538"/>
                <a:gd name="T45" fmla="*/ 456 h 487"/>
                <a:gd name="T46" fmla="*/ 534 w 538"/>
                <a:gd name="T47" fmla="*/ 472 h 487"/>
                <a:gd name="T48" fmla="*/ 519 w 538"/>
                <a:gd name="T49" fmla="*/ 484 h 487"/>
                <a:gd name="T50" fmla="*/ 490 w 538"/>
                <a:gd name="T51" fmla="*/ 487 h 487"/>
                <a:gd name="T52" fmla="*/ 448 w 538"/>
                <a:gd name="T53" fmla="*/ 480 h 487"/>
                <a:gd name="T54" fmla="*/ 414 w 538"/>
                <a:gd name="T55" fmla="*/ 466 h 487"/>
                <a:gd name="T56" fmla="*/ 386 w 538"/>
                <a:gd name="T57" fmla="*/ 446 h 487"/>
                <a:gd name="T58" fmla="*/ 355 w 538"/>
                <a:gd name="T59" fmla="*/ 415 h 487"/>
                <a:gd name="T60" fmla="*/ 312 w 538"/>
                <a:gd name="T61" fmla="*/ 365 h 487"/>
                <a:gd name="T62" fmla="*/ 274 w 538"/>
                <a:gd name="T63" fmla="*/ 330 h 487"/>
                <a:gd name="T64" fmla="*/ 246 w 538"/>
                <a:gd name="T65" fmla="*/ 316 h 487"/>
                <a:gd name="T66" fmla="*/ 212 w 538"/>
                <a:gd name="T67" fmla="*/ 309 h 487"/>
                <a:gd name="T68" fmla="*/ 180 w 538"/>
                <a:gd name="T69" fmla="*/ 310 h 487"/>
                <a:gd name="T70" fmla="*/ 153 w 538"/>
                <a:gd name="T71" fmla="*/ 317 h 487"/>
                <a:gd name="T72" fmla="*/ 113 w 538"/>
                <a:gd name="T73" fmla="*/ 345 h 487"/>
                <a:gd name="T74" fmla="*/ 136 w 538"/>
                <a:gd name="T75" fmla="*/ 361 h 487"/>
                <a:gd name="T76" fmla="*/ 140 w 538"/>
                <a:gd name="T77" fmla="*/ 370 h 487"/>
                <a:gd name="T78" fmla="*/ 124 w 538"/>
                <a:gd name="T79" fmla="*/ 401 h 487"/>
                <a:gd name="T80" fmla="*/ 113 w 538"/>
                <a:gd name="T81" fmla="*/ 414 h 487"/>
                <a:gd name="T82" fmla="*/ 47 w 538"/>
                <a:gd name="T83" fmla="*/ 403 h 487"/>
                <a:gd name="T84" fmla="*/ 20 w 538"/>
                <a:gd name="T85" fmla="*/ 259 h 487"/>
                <a:gd name="T86" fmla="*/ 20 w 538"/>
                <a:gd name="T87" fmla="*/ 0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2" name="Freeform 280"/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7720013" y="3716338"/>
              <a:ext cx="106362" cy="128587"/>
            </a:xfrm>
            <a:custGeom>
              <a:avLst/>
              <a:gdLst>
                <a:gd name="T0" fmla="*/ 136 w 253"/>
                <a:gd name="T1" fmla="*/ 1 h 246"/>
                <a:gd name="T2" fmla="*/ 157 w 253"/>
                <a:gd name="T3" fmla="*/ 8 h 246"/>
                <a:gd name="T4" fmla="*/ 179 w 253"/>
                <a:gd name="T5" fmla="*/ 21 h 246"/>
                <a:gd name="T6" fmla="*/ 199 w 253"/>
                <a:gd name="T7" fmla="*/ 37 h 246"/>
                <a:gd name="T8" fmla="*/ 218 w 253"/>
                <a:gd name="T9" fmla="*/ 57 h 246"/>
                <a:gd name="T10" fmla="*/ 234 w 253"/>
                <a:gd name="T11" fmla="*/ 76 h 246"/>
                <a:gd name="T12" fmla="*/ 245 w 253"/>
                <a:gd name="T13" fmla="*/ 94 h 246"/>
                <a:gd name="T14" fmla="*/ 252 w 253"/>
                <a:gd name="T15" fmla="*/ 111 h 246"/>
                <a:gd name="T16" fmla="*/ 252 w 253"/>
                <a:gd name="T17" fmla="*/ 128 h 246"/>
                <a:gd name="T18" fmla="*/ 243 w 253"/>
                <a:gd name="T19" fmla="*/ 151 h 246"/>
                <a:gd name="T20" fmla="*/ 229 w 253"/>
                <a:gd name="T21" fmla="*/ 174 h 246"/>
                <a:gd name="T22" fmla="*/ 209 w 253"/>
                <a:gd name="T23" fmla="*/ 195 h 246"/>
                <a:gd name="T24" fmla="*/ 184 w 253"/>
                <a:gd name="T25" fmla="*/ 214 h 246"/>
                <a:gd name="T26" fmla="*/ 157 w 253"/>
                <a:gd name="T27" fmla="*/ 229 h 246"/>
                <a:gd name="T28" fmla="*/ 129 w 253"/>
                <a:gd name="T29" fmla="*/ 240 h 246"/>
                <a:gd name="T30" fmla="*/ 100 w 253"/>
                <a:gd name="T31" fmla="*/ 245 h 246"/>
                <a:gd name="T32" fmla="*/ 74 w 253"/>
                <a:gd name="T33" fmla="*/ 245 h 246"/>
                <a:gd name="T34" fmla="*/ 53 w 253"/>
                <a:gd name="T35" fmla="*/ 240 h 246"/>
                <a:gd name="T36" fmla="*/ 33 w 253"/>
                <a:gd name="T37" fmla="*/ 234 h 246"/>
                <a:gd name="T38" fmla="*/ 11 w 253"/>
                <a:gd name="T39" fmla="*/ 229 h 246"/>
                <a:gd name="T40" fmla="*/ 3 w 253"/>
                <a:gd name="T41" fmla="*/ 219 h 246"/>
                <a:gd name="T42" fmla="*/ 10 w 253"/>
                <a:gd name="T43" fmla="*/ 205 h 246"/>
                <a:gd name="T44" fmla="*/ 22 w 253"/>
                <a:gd name="T45" fmla="*/ 196 h 246"/>
                <a:gd name="T46" fmla="*/ 37 w 253"/>
                <a:gd name="T47" fmla="*/ 191 h 246"/>
                <a:gd name="T48" fmla="*/ 50 w 253"/>
                <a:gd name="T49" fmla="*/ 197 h 246"/>
                <a:gd name="T50" fmla="*/ 60 w 253"/>
                <a:gd name="T51" fmla="*/ 207 h 246"/>
                <a:gd name="T52" fmla="*/ 68 w 253"/>
                <a:gd name="T53" fmla="*/ 201 h 246"/>
                <a:gd name="T54" fmla="*/ 75 w 253"/>
                <a:gd name="T55" fmla="*/ 190 h 246"/>
                <a:gd name="T56" fmla="*/ 84 w 253"/>
                <a:gd name="T57" fmla="*/ 180 h 246"/>
                <a:gd name="T58" fmla="*/ 91 w 253"/>
                <a:gd name="T59" fmla="*/ 181 h 246"/>
                <a:gd name="T60" fmla="*/ 98 w 253"/>
                <a:gd name="T61" fmla="*/ 179 h 246"/>
                <a:gd name="T62" fmla="*/ 106 w 253"/>
                <a:gd name="T63" fmla="*/ 178 h 246"/>
                <a:gd name="T64" fmla="*/ 120 w 253"/>
                <a:gd name="T65" fmla="*/ 174 h 246"/>
                <a:gd name="T66" fmla="*/ 149 w 253"/>
                <a:gd name="T67" fmla="*/ 164 h 246"/>
                <a:gd name="T68" fmla="*/ 179 w 253"/>
                <a:gd name="T69" fmla="*/ 147 h 246"/>
                <a:gd name="T70" fmla="*/ 197 w 253"/>
                <a:gd name="T71" fmla="*/ 135 h 246"/>
                <a:gd name="T72" fmla="*/ 210 w 253"/>
                <a:gd name="T73" fmla="*/ 123 h 246"/>
                <a:gd name="T74" fmla="*/ 218 w 253"/>
                <a:gd name="T75" fmla="*/ 111 h 246"/>
                <a:gd name="T76" fmla="*/ 219 w 253"/>
                <a:gd name="T77" fmla="*/ 98 h 246"/>
                <a:gd name="T78" fmla="*/ 214 w 253"/>
                <a:gd name="T79" fmla="*/ 88 h 246"/>
                <a:gd name="T80" fmla="*/ 210 w 253"/>
                <a:gd name="T81" fmla="*/ 80 h 246"/>
                <a:gd name="T82" fmla="*/ 207 w 253"/>
                <a:gd name="T83" fmla="*/ 72 h 246"/>
                <a:gd name="T84" fmla="*/ 201 w 253"/>
                <a:gd name="T85" fmla="*/ 67 h 246"/>
                <a:gd name="T86" fmla="*/ 191 w 253"/>
                <a:gd name="T87" fmla="*/ 65 h 246"/>
                <a:gd name="T88" fmla="*/ 184 w 253"/>
                <a:gd name="T89" fmla="*/ 61 h 246"/>
                <a:gd name="T90" fmla="*/ 180 w 253"/>
                <a:gd name="T91" fmla="*/ 54 h 246"/>
                <a:gd name="T92" fmla="*/ 140 w 253"/>
                <a:gd name="T93" fmla="*/ 49 h 246"/>
                <a:gd name="T94" fmla="*/ 136 w 253"/>
                <a:gd name="T95" fmla="*/ 44 h 246"/>
                <a:gd name="T96" fmla="*/ 136 w 253"/>
                <a:gd name="T97" fmla="*/ 36 h 246"/>
                <a:gd name="T98" fmla="*/ 140 w 253"/>
                <a:gd name="T99" fmla="*/ 18 h 246"/>
                <a:gd name="T100" fmla="*/ 110 w 253"/>
                <a:gd name="T101" fmla="*/ 11 h 246"/>
                <a:gd name="T102" fmla="*/ 97 w 253"/>
                <a:gd name="T103" fmla="*/ 12 h 246"/>
                <a:gd name="T104" fmla="*/ 86 w 253"/>
                <a:gd name="T105" fmla="*/ 18 h 246"/>
                <a:gd name="T106" fmla="*/ 104 w 253"/>
                <a:gd name="T107" fmla="*/ 5 h 246"/>
                <a:gd name="T108" fmla="*/ 113 w 253"/>
                <a:gd name="T109" fmla="*/ 1 h 246"/>
                <a:gd name="T110" fmla="*/ 127 w 253"/>
                <a:gd name="T111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3" name="Freeform 281"/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5995988" y="3349625"/>
              <a:ext cx="63500" cy="119063"/>
            </a:xfrm>
            <a:custGeom>
              <a:avLst/>
              <a:gdLst>
                <a:gd name="T0" fmla="*/ 41 w 141"/>
                <a:gd name="T1" fmla="*/ 228 h 228"/>
                <a:gd name="T2" fmla="*/ 36 w 141"/>
                <a:gd name="T3" fmla="*/ 220 h 228"/>
                <a:gd name="T4" fmla="*/ 29 w 141"/>
                <a:gd name="T5" fmla="*/ 208 h 228"/>
                <a:gd name="T6" fmla="*/ 22 w 141"/>
                <a:gd name="T7" fmla="*/ 194 h 228"/>
                <a:gd name="T8" fmla="*/ 16 w 141"/>
                <a:gd name="T9" fmla="*/ 178 h 228"/>
                <a:gd name="T10" fmla="*/ 10 w 141"/>
                <a:gd name="T11" fmla="*/ 163 h 228"/>
                <a:gd name="T12" fmla="*/ 5 w 141"/>
                <a:gd name="T13" fmla="*/ 148 h 228"/>
                <a:gd name="T14" fmla="*/ 2 w 141"/>
                <a:gd name="T15" fmla="*/ 135 h 228"/>
                <a:gd name="T16" fmla="*/ 0 w 141"/>
                <a:gd name="T17" fmla="*/ 123 h 228"/>
                <a:gd name="T18" fmla="*/ 2 w 141"/>
                <a:gd name="T19" fmla="*/ 104 h 228"/>
                <a:gd name="T20" fmla="*/ 4 w 141"/>
                <a:gd name="T21" fmla="*/ 87 h 228"/>
                <a:gd name="T22" fmla="*/ 6 w 141"/>
                <a:gd name="T23" fmla="*/ 70 h 228"/>
                <a:gd name="T24" fmla="*/ 9 w 141"/>
                <a:gd name="T25" fmla="*/ 55 h 228"/>
                <a:gd name="T26" fmla="*/ 18 w 141"/>
                <a:gd name="T27" fmla="*/ 28 h 228"/>
                <a:gd name="T28" fmla="*/ 28 w 141"/>
                <a:gd name="T29" fmla="*/ 0 h 228"/>
                <a:gd name="T30" fmla="*/ 45 w 141"/>
                <a:gd name="T31" fmla="*/ 16 h 228"/>
                <a:gd name="T32" fmla="*/ 62 w 141"/>
                <a:gd name="T33" fmla="*/ 28 h 228"/>
                <a:gd name="T34" fmla="*/ 76 w 141"/>
                <a:gd name="T35" fmla="*/ 37 h 228"/>
                <a:gd name="T36" fmla="*/ 89 w 141"/>
                <a:gd name="T37" fmla="*/ 48 h 228"/>
                <a:gd name="T38" fmla="*/ 95 w 141"/>
                <a:gd name="T39" fmla="*/ 55 h 228"/>
                <a:gd name="T40" fmla="*/ 101 w 141"/>
                <a:gd name="T41" fmla="*/ 63 h 228"/>
                <a:gd name="T42" fmla="*/ 107 w 141"/>
                <a:gd name="T43" fmla="*/ 74 h 228"/>
                <a:gd name="T44" fmla="*/ 114 w 141"/>
                <a:gd name="T45" fmla="*/ 86 h 228"/>
                <a:gd name="T46" fmla="*/ 120 w 141"/>
                <a:gd name="T47" fmla="*/ 100 h 228"/>
                <a:gd name="T48" fmla="*/ 127 w 141"/>
                <a:gd name="T49" fmla="*/ 117 h 228"/>
                <a:gd name="T50" fmla="*/ 133 w 141"/>
                <a:gd name="T51" fmla="*/ 138 h 228"/>
                <a:gd name="T52" fmla="*/ 141 w 141"/>
                <a:gd name="T53" fmla="*/ 161 h 228"/>
                <a:gd name="T54" fmla="*/ 140 w 141"/>
                <a:gd name="T55" fmla="*/ 169 h 228"/>
                <a:gd name="T56" fmla="*/ 138 w 141"/>
                <a:gd name="T57" fmla="*/ 177 h 228"/>
                <a:gd name="T58" fmla="*/ 135 w 141"/>
                <a:gd name="T59" fmla="*/ 186 h 228"/>
                <a:gd name="T60" fmla="*/ 131 w 141"/>
                <a:gd name="T61" fmla="*/ 192 h 228"/>
                <a:gd name="T62" fmla="*/ 127 w 141"/>
                <a:gd name="T63" fmla="*/ 199 h 228"/>
                <a:gd name="T64" fmla="*/ 121 w 141"/>
                <a:gd name="T65" fmla="*/ 204 h 228"/>
                <a:gd name="T66" fmla="*/ 115 w 141"/>
                <a:gd name="T67" fmla="*/ 209 h 228"/>
                <a:gd name="T68" fmla="*/ 108 w 141"/>
                <a:gd name="T69" fmla="*/ 213 h 228"/>
                <a:gd name="T70" fmla="*/ 100 w 141"/>
                <a:gd name="T71" fmla="*/ 217 h 228"/>
                <a:gd name="T72" fmla="*/ 93 w 141"/>
                <a:gd name="T73" fmla="*/ 220 h 228"/>
                <a:gd name="T74" fmla="*/ 85 w 141"/>
                <a:gd name="T75" fmla="*/ 223 h 228"/>
                <a:gd name="T76" fmla="*/ 76 w 141"/>
                <a:gd name="T77" fmla="*/ 225 h 228"/>
                <a:gd name="T78" fmla="*/ 59 w 141"/>
                <a:gd name="T79" fmla="*/ 227 h 228"/>
                <a:gd name="T80" fmla="*/ 41 w 141"/>
                <a:gd name="T81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grpSp>
          <p:nvGrpSpPr>
            <p:cNvPr id="214" name="Group 282"/>
            <p:cNvGrpSpPr>
              <a:grpSpLocks/>
            </p:cNvGrpSpPr>
            <p:nvPr>
              <p:custDataLst>
                <p:tags r:id="rId208"/>
              </p:custDataLst>
            </p:nvPr>
          </p:nvGrpSpPr>
          <p:grpSpPr bwMode="auto">
            <a:xfrm>
              <a:off x="6935788" y="3060700"/>
              <a:ext cx="233362" cy="439738"/>
              <a:chOff x="5062" y="2295"/>
              <a:chExt cx="177" cy="279"/>
            </a:xfrm>
          </p:grpSpPr>
          <p:sp>
            <p:nvSpPr>
              <p:cNvPr id="460" name="Freeform 283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39 w 60"/>
                  <a:gd name="T1" fmla="*/ 110 h 110"/>
                  <a:gd name="T2" fmla="*/ 42 w 60"/>
                  <a:gd name="T3" fmla="*/ 109 h 110"/>
                  <a:gd name="T4" fmla="*/ 46 w 60"/>
                  <a:gd name="T5" fmla="*/ 106 h 110"/>
                  <a:gd name="T6" fmla="*/ 49 w 60"/>
                  <a:gd name="T7" fmla="*/ 101 h 110"/>
                  <a:gd name="T8" fmla="*/ 52 w 60"/>
                  <a:gd name="T9" fmla="*/ 96 h 110"/>
                  <a:gd name="T10" fmla="*/ 54 w 60"/>
                  <a:gd name="T11" fmla="*/ 90 h 110"/>
                  <a:gd name="T12" fmla="*/ 57 w 60"/>
                  <a:gd name="T13" fmla="*/ 84 h 110"/>
                  <a:gd name="T14" fmla="*/ 59 w 60"/>
                  <a:gd name="T15" fmla="*/ 78 h 110"/>
                  <a:gd name="T16" fmla="*/ 60 w 60"/>
                  <a:gd name="T17" fmla="*/ 73 h 110"/>
                  <a:gd name="T18" fmla="*/ 59 w 60"/>
                  <a:gd name="T19" fmla="*/ 60 h 110"/>
                  <a:gd name="T20" fmla="*/ 58 w 60"/>
                  <a:gd name="T21" fmla="*/ 48 h 110"/>
                  <a:gd name="T22" fmla="*/ 57 w 60"/>
                  <a:gd name="T23" fmla="*/ 38 h 110"/>
                  <a:gd name="T24" fmla="*/ 54 w 60"/>
                  <a:gd name="T25" fmla="*/ 29 h 110"/>
                  <a:gd name="T26" fmla="*/ 51 w 60"/>
                  <a:gd name="T27" fmla="*/ 21 h 110"/>
                  <a:gd name="T28" fmla="*/ 48 w 60"/>
                  <a:gd name="T29" fmla="*/ 13 h 110"/>
                  <a:gd name="T30" fmla="*/ 45 w 60"/>
                  <a:gd name="T31" fmla="*/ 6 h 110"/>
                  <a:gd name="T32" fmla="*/ 39 w 60"/>
                  <a:gd name="T33" fmla="*/ 0 h 110"/>
                  <a:gd name="T34" fmla="*/ 35 w 60"/>
                  <a:gd name="T35" fmla="*/ 3 h 110"/>
                  <a:gd name="T36" fmla="*/ 30 w 60"/>
                  <a:gd name="T37" fmla="*/ 8 h 110"/>
                  <a:gd name="T38" fmla="*/ 27 w 60"/>
                  <a:gd name="T39" fmla="*/ 13 h 110"/>
                  <a:gd name="T40" fmla="*/ 24 w 60"/>
                  <a:gd name="T41" fmla="*/ 18 h 110"/>
                  <a:gd name="T42" fmla="*/ 18 w 60"/>
                  <a:gd name="T43" fmla="*/ 29 h 110"/>
                  <a:gd name="T44" fmla="*/ 15 w 60"/>
                  <a:gd name="T45" fmla="*/ 40 h 110"/>
                  <a:gd name="T46" fmla="*/ 10 w 60"/>
                  <a:gd name="T47" fmla="*/ 51 h 110"/>
                  <a:gd name="T48" fmla="*/ 7 w 60"/>
                  <a:gd name="T49" fmla="*/ 62 h 110"/>
                  <a:gd name="T50" fmla="*/ 6 w 60"/>
                  <a:gd name="T51" fmla="*/ 66 h 110"/>
                  <a:gd name="T52" fmla="*/ 4 w 60"/>
                  <a:gd name="T53" fmla="*/ 69 h 110"/>
                  <a:gd name="T54" fmla="*/ 2 w 60"/>
                  <a:gd name="T55" fmla="*/ 72 h 110"/>
                  <a:gd name="T56" fmla="*/ 0 w 60"/>
                  <a:gd name="T57" fmla="*/ 73 h 110"/>
                  <a:gd name="T58" fmla="*/ 1 w 60"/>
                  <a:gd name="T59" fmla="*/ 78 h 110"/>
                  <a:gd name="T60" fmla="*/ 3 w 60"/>
                  <a:gd name="T61" fmla="*/ 84 h 110"/>
                  <a:gd name="T62" fmla="*/ 7 w 60"/>
                  <a:gd name="T63" fmla="*/ 90 h 110"/>
                  <a:gd name="T64" fmla="*/ 12 w 60"/>
                  <a:gd name="T65" fmla="*/ 96 h 110"/>
                  <a:gd name="T66" fmla="*/ 18 w 60"/>
                  <a:gd name="T67" fmla="*/ 101 h 110"/>
                  <a:gd name="T68" fmla="*/ 25 w 60"/>
                  <a:gd name="T69" fmla="*/ 106 h 110"/>
                  <a:gd name="T70" fmla="*/ 32 w 60"/>
                  <a:gd name="T71" fmla="*/ 109 h 110"/>
                  <a:gd name="T72" fmla="*/ 39 w 60"/>
                  <a:gd name="T73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61" name="Freeform 284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13 h 75"/>
                  <a:gd name="T2" fmla="*/ 8 w 72"/>
                  <a:gd name="T3" fmla="*/ 18 h 75"/>
                  <a:gd name="T4" fmla="*/ 15 w 72"/>
                  <a:gd name="T5" fmla="*/ 25 h 75"/>
                  <a:gd name="T6" fmla="*/ 23 w 72"/>
                  <a:gd name="T7" fmla="*/ 32 h 75"/>
                  <a:gd name="T8" fmla="*/ 31 w 72"/>
                  <a:gd name="T9" fmla="*/ 40 h 75"/>
                  <a:gd name="T10" fmla="*/ 37 w 72"/>
                  <a:gd name="T11" fmla="*/ 48 h 75"/>
                  <a:gd name="T12" fmla="*/ 42 w 72"/>
                  <a:gd name="T13" fmla="*/ 57 h 75"/>
                  <a:gd name="T14" fmla="*/ 45 w 72"/>
                  <a:gd name="T15" fmla="*/ 65 h 75"/>
                  <a:gd name="T16" fmla="*/ 46 w 72"/>
                  <a:gd name="T17" fmla="*/ 75 h 75"/>
                  <a:gd name="T18" fmla="*/ 72 w 72"/>
                  <a:gd name="T19" fmla="*/ 75 h 75"/>
                  <a:gd name="T20" fmla="*/ 65 w 72"/>
                  <a:gd name="T21" fmla="*/ 50 h 75"/>
                  <a:gd name="T22" fmla="*/ 60 w 72"/>
                  <a:gd name="T23" fmla="*/ 34 h 75"/>
                  <a:gd name="T24" fmla="*/ 60 w 72"/>
                  <a:gd name="T25" fmla="*/ 27 h 75"/>
                  <a:gd name="T26" fmla="*/ 63 w 72"/>
                  <a:gd name="T27" fmla="*/ 19 h 75"/>
                  <a:gd name="T28" fmla="*/ 67 w 72"/>
                  <a:gd name="T29" fmla="*/ 11 h 75"/>
                  <a:gd name="T30" fmla="*/ 72 w 72"/>
                  <a:gd name="T31" fmla="*/ 1 h 75"/>
                  <a:gd name="T32" fmla="*/ 52 w 72"/>
                  <a:gd name="T33" fmla="*/ 0 h 75"/>
                  <a:gd name="T34" fmla="*/ 32 w 72"/>
                  <a:gd name="T35" fmla="*/ 0 h 75"/>
                  <a:gd name="T36" fmla="*/ 22 w 72"/>
                  <a:gd name="T37" fmla="*/ 1 h 75"/>
                  <a:gd name="T38" fmla="*/ 13 w 72"/>
                  <a:gd name="T39" fmla="*/ 3 h 75"/>
                  <a:gd name="T40" fmla="*/ 9 w 72"/>
                  <a:gd name="T41" fmla="*/ 5 h 75"/>
                  <a:gd name="T42" fmla="*/ 6 w 72"/>
                  <a:gd name="T43" fmla="*/ 7 h 75"/>
                  <a:gd name="T44" fmla="*/ 2 w 72"/>
                  <a:gd name="T45" fmla="*/ 10 h 75"/>
                  <a:gd name="T46" fmla="*/ 0 w 72"/>
                  <a:gd name="T47" fmla="*/ 13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62" name="Freeform 285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15 w 15"/>
                  <a:gd name="T1" fmla="*/ 49 h 49"/>
                  <a:gd name="T2" fmla="*/ 15 w 15"/>
                  <a:gd name="T3" fmla="*/ 33 h 49"/>
                  <a:gd name="T4" fmla="*/ 15 w 15"/>
                  <a:gd name="T5" fmla="*/ 19 h 49"/>
                  <a:gd name="T6" fmla="*/ 14 w 15"/>
                  <a:gd name="T7" fmla="*/ 13 h 49"/>
                  <a:gd name="T8" fmla="*/ 13 w 15"/>
                  <a:gd name="T9" fmla="*/ 7 h 49"/>
                  <a:gd name="T10" fmla="*/ 11 w 15"/>
                  <a:gd name="T11" fmla="*/ 3 h 49"/>
                  <a:gd name="T12" fmla="*/ 9 w 15"/>
                  <a:gd name="T13" fmla="*/ 0 h 49"/>
                  <a:gd name="T14" fmla="*/ 4 w 15"/>
                  <a:gd name="T15" fmla="*/ 7 h 49"/>
                  <a:gd name="T16" fmla="*/ 2 w 15"/>
                  <a:gd name="T17" fmla="*/ 15 h 49"/>
                  <a:gd name="T18" fmla="*/ 0 w 15"/>
                  <a:gd name="T19" fmla="*/ 23 h 49"/>
                  <a:gd name="T20" fmla="*/ 0 w 15"/>
                  <a:gd name="T21" fmla="*/ 30 h 49"/>
                  <a:gd name="T22" fmla="*/ 1 w 15"/>
                  <a:gd name="T23" fmla="*/ 36 h 49"/>
                  <a:gd name="T24" fmla="*/ 4 w 15"/>
                  <a:gd name="T25" fmla="*/ 42 h 49"/>
                  <a:gd name="T26" fmla="*/ 7 w 15"/>
                  <a:gd name="T27" fmla="*/ 44 h 49"/>
                  <a:gd name="T28" fmla="*/ 9 w 15"/>
                  <a:gd name="T29" fmla="*/ 46 h 49"/>
                  <a:gd name="T30" fmla="*/ 12 w 15"/>
                  <a:gd name="T31" fmla="*/ 48 h 49"/>
                  <a:gd name="T32" fmla="*/ 15 w 15"/>
                  <a:gd name="T33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63" name="Freeform 286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20 w 47"/>
                  <a:gd name="T1" fmla="*/ 6 h 40"/>
                  <a:gd name="T2" fmla="*/ 0 w 47"/>
                  <a:gd name="T3" fmla="*/ 37 h 40"/>
                  <a:gd name="T4" fmla="*/ 6 w 47"/>
                  <a:gd name="T5" fmla="*/ 39 h 40"/>
                  <a:gd name="T6" fmla="*/ 12 w 47"/>
                  <a:gd name="T7" fmla="*/ 40 h 40"/>
                  <a:gd name="T8" fmla="*/ 19 w 47"/>
                  <a:gd name="T9" fmla="*/ 39 h 40"/>
                  <a:gd name="T10" fmla="*/ 26 w 47"/>
                  <a:gd name="T11" fmla="*/ 38 h 40"/>
                  <a:gd name="T12" fmla="*/ 32 w 47"/>
                  <a:gd name="T13" fmla="*/ 36 h 40"/>
                  <a:gd name="T14" fmla="*/ 39 w 47"/>
                  <a:gd name="T15" fmla="*/ 33 h 40"/>
                  <a:gd name="T16" fmla="*/ 43 w 47"/>
                  <a:gd name="T17" fmla="*/ 30 h 40"/>
                  <a:gd name="T18" fmla="*/ 47 w 47"/>
                  <a:gd name="T19" fmla="*/ 25 h 40"/>
                  <a:gd name="T20" fmla="*/ 47 w 47"/>
                  <a:gd name="T21" fmla="*/ 0 h 40"/>
                  <a:gd name="T22" fmla="*/ 41 w 47"/>
                  <a:gd name="T23" fmla="*/ 0 h 40"/>
                  <a:gd name="T24" fmla="*/ 33 w 47"/>
                  <a:gd name="T25" fmla="*/ 1 h 40"/>
                  <a:gd name="T26" fmla="*/ 26 w 47"/>
                  <a:gd name="T27" fmla="*/ 3 h 40"/>
                  <a:gd name="T28" fmla="*/ 20 w 47"/>
                  <a:gd name="T29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64" name="Freeform 287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3 w 39"/>
                  <a:gd name="T3" fmla="*/ 8 h 31"/>
                  <a:gd name="T4" fmla="*/ 6 w 39"/>
                  <a:gd name="T5" fmla="*/ 13 h 31"/>
                  <a:gd name="T6" fmla="*/ 12 w 39"/>
                  <a:gd name="T7" fmla="*/ 19 h 31"/>
                  <a:gd name="T8" fmla="*/ 17 w 39"/>
                  <a:gd name="T9" fmla="*/ 23 h 31"/>
                  <a:gd name="T10" fmla="*/ 23 w 39"/>
                  <a:gd name="T11" fmla="*/ 26 h 31"/>
                  <a:gd name="T12" fmla="*/ 28 w 39"/>
                  <a:gd name="T13" fmla="*/ 29 h 31"/>
                  <a:gd name="T14" fmla="*/ 34 w 39"/>
                  <a:gd name="T15" fmla="*/ 31 h 31"/>
                  <a:gd name="T16" fmla="*/ 39 w 39"/>
                  <a:gd name="T17" fmla="*/ 31 h 31"/>
                  <a:gd name="T18" fmla="*/ 33 w 39"/>
                  <a:gd name="T19" fmla="*/ 22 h 31"/>
                  <a:gd name="T20" fmla="*/ 25 w 39"/>
                  <a:gd name="T21" fmla="*/ 14 h 31"/>
                  <a:gd name="T22" fmla="*/ 16 w 39"/>
                  <a:gd name="T23" fmla="*/ 7 h 31"/>
                  <a:gd name="T24" fmla="*/ 6 w 39"/>
                  <a:gd name="T2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65" name="Freeform 288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34 w 34"/>
                  <a:gd name="T3" fmla="*/ 19 h 19"/>
                  <a:gd name="T4" fmla="*/ 34 w 34"/>
                  <a:gd name="T5" fmla="*/ 0 h 19"/>
                  <a:gd name="T6" fmla="*/ 24 w 34"/>
                  <a:gd name="T7" fmla="*/ 0 h 19"/>
                  <a:gd name="T8" fmla="*/ 14 w 34"/>
                  <a:gd name="T9" fmla="*/ 0 h 19"/>
                  <a:gd name="T10" fmla="*/ 7 w 34"/>
                  <a:gd name="T11" fmla="*/ 0 h 19"/>
                  <a:gd name="T12" fmla="*/ 0 w 34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66" name="Freeform 289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19 w 19"/>
                  <a:gd name="T3" fmla="*/ 12 h 12"/>
                  <a:gd name="T4" fmla="*/ 13 w 19"/>
                  <a:gd name="T5" fmla="*/ 6 h 12"/>
                  <a:gd name="T6" fmla="*/ 6 w 19"/>
                  <a:gd name="T7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67" name="Freeform 290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113 w 126"/>
                  <a:gd name="T1" fmla="*/ 0 h 166"/>
                  <a:gd name="T2" fmla="*/ 117 w 126"/>
                  <a:gd name="T3" fmla="*/ 5 h 166"/>
                  <a:gd name="T4" fmla="*/ 121 w 126"/>
                  <a:gd name="T5" fmla="*/ 10 h 166"/>
                  <a:gd name="T6" fmla="*/ 124 w 126"/>
                  <a:gd name="T7" fmla="*/ 13 h 166"/>
                  <a:gd name="T8" fmla="*/ 125 w 126"/>
                  <a:gd name="T9" fmla="*/ 17 h 166"/>
                  <a:gd name="T10" fmla="*/ 126 w 126"/>
                  <a:gd name="T11" fmla="*/ 20 h 166"/>
                  <a:gd name="T12" fmla="*/ 126 w 126"/>
                  <a:gd name="T13" fmla="*/ 25 h 166"/>
                  <a:gd name="T14" fmla="*/ 123 w 126"/>
                  <a:gd name="T15" fmla="*/ 32 h 166"/>
                  <a:gd name="T16" fmla="*/ 118 w 126"/>
                  <a:gd name="T17" fmla="*/ 41 h 166"/>
                  <a:gd name="T18" fmla="*/ 113 w 126"/>
                  <a:gd name="T19" fmla="*/ 50 h 166"/>
                  <a:gd name="T20" fmla="*/ 106 w 126"/>
                  <a:gd name="T21" fmla="*/ 61 h 166"/>
                  <a:gd name="T22" fmla="*/ 91 w 126"/>
                  <a:gd name="T23" fmla="*/ 83 h 166"/>
                  <a:gd name="T24" fmla="*/ 72 w 126"/>
                  <a:gd name="T25" fmla="*/ 104 h 166"/>
                  <a:gd name="T26" fmla="*/ 53 w 126"/>
                  <a:gd name="T27" fmla="*/ 126 h 166"/>
                  <a:gd name="T28" fmla="*/ 34 w 126"/>
                  <a:gd name="T29" fmla="*/ 144 h 166"/>
                  <a:gd name="T30" fmla="*/ 25 w 126"/>
                  <a:gd name="T31" fmla="*/ 152 h 166"/>
                  <a:gd name="T32" fmla="*/ 16 w 126"/>
                  <a:gd name="T33" fmla="*/ 158 h 166"/>
                  <a:gd name="T34" fmla="*/ 7 w 126"/>
                  <a:gd name="T35" fmla="*/ 163 h 166"/>
                  <a:gd name="T36" fmla="*/ 0 w 126"/>
                  <a:gd name="T37" fmla="*/ 166 h 166"/>
                  <a:gd name="T38" fmla="*/ 0 w 126"/>
                  <a:gd name="T39" fmla="*/ 160 h 166"/>
                  <a:gd name="T40" fmla="*/ 0 w 126"/>
                  <a:gd name="T41" fmla="*/ 153 h 166"/>
                  <a:gd name="T42" fmla="*/ 0 w 126"/>
                  <a:gd name="T43" fmla="*/ 145 h 166"/>
                  <a:gd name="T44" fmla="*/ 0 w 126"/>
                  <a:gd name="T45" fmla="*/ 136 h 166"/>
                  <a:gd name="T46" fmla="*/ 3 w 126"/>
                  <a:gd name="T47" fmla="*/ 131 h 166"/>
                  <a:gd name="T48" fmla="*/ 6 w 126"/>
                  <a:gd name="T49" fmla="*/ 128 h 166"/>
                  <a:gd name="T50" fmla="*/ 12 w 126"/>
                  <a:gd name="T51" fmla="*/ 124 h 166"/>
                  <a:gd name="T52" fmla="*/ 16 w 126"/>
                  <a:gd name="T53" fmla="*/ 121 h 166"/>
                  <a:gd name="T54" fmla="*/ 26 w 126"/>
                  <a:gd name="T55" fmla="*/ 116 h 166"/>
                  <a:gd name="T56" fmla="*/ 33 w 126"/>
                  <a:gd name="T57" fmla="*/ 110 h 166"/>
                  <a:gd name="T58" fmla="*/ 40 w 126"/>
                  <a:gd name="T59" fmla="*/ 104 h 166"/>
                  <a:gd name="T60" fmla="*/ 48 w 126"/>
                  <a:gd name="T61" fmla="*/ 96 h 166"/>
                  <a:gd name="T62" fmla="*/ 53 w 126"/>
                  <a:gd name="T63" fmla="*/ 89 h 166"/>
                  <a:gd name="T64" fmla="*/ 58 w 126"/>
                  <a:gd name="T65" fmla="*/ 82 h 166"/>
                  <a:gd name="T66" fmla="*/ 67 w 126"/>
                  <a:gd name="T67" fmla="*/ 66 h 166"/>
                  <a:gd name="T68" fmla="*/ 72 w 126"/>
                  <a:gd name="T69" fmla="*/ 50 h 166"/>
                  <a:gd name="T70" fmla="*/ 79 w 126"/>
                  <a:gd name="T71" fmla="*/ 36 h 166"/>
                  <a:gd name="T72" fmla="*/ 87 w 126"/>
                  <a:gd name="T73" fmla="*/ 23 h 166"/>
                  <a:gd name="T74" fmla="*/ 92 w 126"/>
                  <a:gd name="T75" fmla="*/ 16 h 166"/>
                  <a:gd name="T76" fmla="*/ 97 w 126"/>
                  <a:gd name="T77" fmla="*/ 11 h 166"/>
                  <a:gd name="T78" fmla="*/ 104 w 126"/>
                  <a:gd name="T79" fmla="*/ 5 h 166"/>
                  <a:gd name="T80" fmla="*/ 113 w 126"/>
                  <a:gd name="T81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68" name="Freeform 291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8 w 259"/>
                  <a:gd name="T1" fmla="*/ 182 h 259"/>
                  <a:gd name="T2" fmla="*/ 1 w 259"/>
                  <a:gd name="T3" fmla="*/ 163 h 259"/>
                  <a:gd name="T4" fmla="*/ 0 w 259"/>
                  <a:gd name="T5" fmla="*/ 142 h 259"/>
                  <a:gd name="T6" fmla="*/ 6 w 259"/>
                  <a:gd name="T7" fmla="*/ 130 h 259"/>
                  <a:gd name="T8" fmla="*/ 19 w 259"/>
                  <a:gd name="T9" fmla="*/ 126 h 259"/>
                  <a:gd name="T10" fmla="*/ 34 w 259"/>
                  <a:gd name="T11" fmla="*/ 117 h 259"/>
                  <a:gd name="T12" fmla="*/ 48 w 259"/>
                  <a:gd name="T13" fmla="*/ 100 h 259"/>
                  <a:gd name="T14" fmla="*/ 60 w 259"/>
                  <a:gd name="T15" fmla="*/ 91 h 259"/>
                  <a:gd name="T16" fmla="*/ 68 w 259"/>
                  <a:gd name="T17" fmla="*/ 87 h 259"/>
                  <a:gd name="T18" fmla="*/ 83 w 259"/>
                  <a:gd name="T19" fmla="*/ 87 h 259"/>
                  <a:gd name="T20" fmla="*/ 94 w 259"/>
                  <a:gd name="T21" fmla="*/ 93 h 259"/>
                  <a:gd name="T22" fmla="*/ 101 w 259"/>
                  <a:gd name="T23" fmla="*/ 105 h 259"/>
                  <a:gd name="T24" fmla="*/ 108 w 259"/>
                  <a:gd name="T25" fmla="*/ 110 h 259"/>
                  <a:gd name="T26" fmla="*/ 120 w 259"/>
                  <a:gd name="T27" fmla="*/ 110 h 259"/>
                  <a:gd name="T28" fmla="*/ 135 w 259"/>
                  <a:gd name="T29" fmla="*/ 104 h 259"/>
                  <a:gd name="T30" fmla="*/ 148 w 259"/>
                  <a:gd name="T31" fmla="*/ 93 h 259"/>
                  <a:gd name="T32" fmla="*/ 160 w 259"/>
                  <a:gd name="T33" fmla="*/ 78 h 259"/>
                  <a:gd name="T34" fmla="*/ 174 w 259"/>
                  <a:gd name="T35" fmla="*/ 51 h 259"/>
                  <a:gd name="T36" fmla="*/ 188 w 259"/>
                  <a:gd name="T37" fmla="*/ 16 h 259"/>
                  <a:gd name="T38" fmla="*/ 195 w 259"/>
                  <a:gd name="T39" fmla="*/ 4 h 259"/>
                  <a:gd name="T40" fmla="*/ 202 w 259"/>
                  <a:gd name="T41" fmla="*/ 12 h 259"/>
                  <a:gd name="T42" fmla="*/ 213 w 259"/>
                  <a:gd name="T43" fmla="*/ 18 h 259"/>
                  <a:gd name="T44" fmla="*/ 219 w 259"/>
                  <a:gd name="T45" fmla="*/ 32 h 259"/>
                  <a:gd name="T46" fmla="*/ 219 w 259"/>
                  <a:gd name="T47" fmla="*/ 52 h 259"/>
                  <a:gd name="T48" fmla="*/ 227 w 259"/>
                  <a:gd name="T49" fmla="*/ 61 h 259"/>
                  <a:gd name="T50" fmla="*/ 234 w 259"/>
                  <a:gd name="T51" fmla="*/ 70 h 259"/>
                  <a:gd name="T52" fmla="*/ 234 w 259"/>
                  <a:gd name="T53" fmla="*/ 88 h 259"/>
                  <a:gd name="T54" fmla="*/ 234 w 259"/>
                  <a:gd name="T55" fmla="*/ 104 h 259"/>
                  <a:gd name="T56" fmla="*/ 237 w 259"/>
                  <a:gd name="T57" fmla="*/ 110 h 259"/>
                  <a:gd name="T58" fmla="*/ 243 w 259"/>
                  <a:gd name="T59" fmla="*/ 121 h 259"/>
                  <a:gd name="T60" fmla="*/ 249 w 259"/>
                  <a:gd name="T61" fmla="*/ 137 h 259"/>
                  <a:gd name="T62" fmla="*/ 254 w 259"/>
                  <a:gd name="T63" fmla="*/ 161 h 259"/>
                  <a:gd name="T64" fmla="*/ 245 w 259"/>
                  <a:gd name="T65" fmla="*/ 235 h 259"/>
                  <a:gd name="T66" fmla="*/ 239 w 259"/>
                  <a:gd name="T67" fmla="*/ 222 h 259"/>
                  <a:gd name="T68" fmla="*/ 237 w 259"/>
                  <a:gd name="T69" fmla="*/ 208 h 259"/>
                  <a:gd name="T70" fmla="*/ 239 w 259"/>
                  <a:gd name="T71" fmla="*/ 192 h 259"/>
                  <a:gd name="T72" fmla="*/ 222 w 259"/>
                  <a:gd name="T73" fmla="*/ 188 h 259"/>
                  <a:gd name="T74" fmla="*/ 206 w 259"/>
                  <a:gd name="T75" fmla="*/ 179 h 259"/>
                  <a:gd name="T76" fmla="*/ 194 w 259"/>
                  <a:gd name="T77" fmla="*/ 199 h 259"/>
                  <a:gd name="T78" fmla="*/ 188 w 259"/>
                  <a:gd name="T79" fmla="*/ 219 h 259"/>
                  <a:gd name="T80" fmla="*/ 185 w 259"/>
                  <a:gd name="T81" fmla="*/ 259 h 259"/>
                  <a:gd name="T82" fmla="*/ 124 w 259"/>
                  <a:gd name="T83" fmla="*/ 242 h 259"/>
                  <a:gd name="T84" fmla="*/ 110 w 259"/>
                  <a:gd name="T85" fmla="*/ 220 h 259"/>
                  <a:gd name="T86" fmla="*/ 99 w 259"/>
                  <a:gd name="T87" fmla="*/ 209 h 259"/>
                  <a:gd name="T88" fmla="*/ 97 w 259"/>
                  <a:gd name="T89" fmla="*/ 196 h 259"/>
                  <a:gd name="T90" fmla="*/ 105 w 259"/>
                  <a:gd name="T91" fmla="*/ 186 h 259"/>
                  <a:gd name="T92" fmla="*/ 112 w 259"/>
                  <a:gd name="T93" fmla="*/ 180 h 259"/>
                  <a:gd name="T94" fmla="*/ 117 w 259"/>
                  <a:gd name="T95" fmla="*/ 173 h 259"/>
                  <a:gd name="T96" fmla="*/ 93 w 259"/>
                  <a:gd name="T97" fmla="*/ 154 h 259"/>
                  <a:gd name="T98" fmla="*/ 28 w 259"/>
                  <a:gd name="T99" fmla="*/ 155 h 259"/>
                  <a:gd name="T100" fmla="*/ 20 w 259"/>
                  <a:gd name="T101" fmla="*/ 163 h 259"/>
                  <a:gd name="T102" fmla="*/ 16 w 259"/>
                  <a:gd name="T103" fmla="*/ 175 h 259"/>
                  <a:gd name="T104" fmla="*/ 13 w 259"/>
                  <a:gd name="T105" fmla="*/ 187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69" name="Freeform 292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72 w 72"/>
                  <a:gd name="T1" fmla="*/ 43 h 92"/>
                  <a:gd name="T2" fmla="*/ 72 w 72"/>
                  <a:gd name="T3" fmla="*/ 92 h 92"/>
                  <a:gd name="T4" fmla="*/ 65 w 72"/>
                  <a:gd name="T5" fmla="*/ 86 h 92"/>
                  <a:gd name="T6" fmla="*/ 58 w 72"/>
                  <a:gd name="T7" fmla="*/ 81 h 92"/>
                  <a:gd name="T8" fmla="*/ 51 w 72"/>
                  <a:gd name="T9" fmla="*/ 75 h 92"/>
                  <a:gd name="T10" fmla="*/ 46 w 72"/>
                  <a:gd name="T11" fmla="*/ 69 h 92"/>
                  <a:gd name="T12" fmla="*/ 38 w 72"/>
                  <a:gd name="T13" fmla="*/ 58 h 92"/>
                  <a:gd name="T14" fmla="*/ 32 w 72"/>
                  <a:gd name="T15" fmla="*/ 46 h 92"/>
                  <a:gd name="T16" fmla="*/ 25 w 72"/>
                  <a:gd name="T17" fmla="*/ 34 h 92"/>
                  <a:gd name="T18" fmla="*/ 19 w 72"/>
                  <a:gd name="T19" fmla="*/ 23 h 92"/>
                  <a:gd name="T20" fmla="*/ 11 w 72"/>
                  <a:gd name="T21" fmla="*/ 12 h 92"/>
                  <a:gd name="T22" fmla="*/ 0 w 72"/>
                  <a:gd name="T23" fmla="*/ 0 h 92"/>
                  <a:gd name="T24" fmla="*/ 25 w 72"/>
                  <a:gd name="T25" fmla="*/ 12 h 92"/>
                  <a:gd name="T26" fmla="*/ 44 w 72"/>
                  <a:gd name="T27" fmla="*/ 21 h 92"/>
                  <a:gd name="T28" fmla="*/ 51 w 72"/>
                  <a:gd name="T29" fmla="*/ 26 h 92"/>
                  <a:gd name="T30" fmla="*/ 58 w 72"/>
                  <a:gd name="T31" fmla="*/ 31 h 92"/>
                  <a:gd name="T32" fmla="*/ 66 w 72"/>
                  <a:gd name="T33" fmla="*/ 36 h 92"/>
                  <a:gd name="T34" fmla="*/ 72 w 72"/>
                  <a:gd name="T35" fmla="*/ 43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70" name="Freeform 293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6 w 46"/>
                  <a:gd name="T1" fmla="*/ 6 h 62"/>
                  <a:gd name="T2" fmla="*/ 19 w 46"/>
                  <a:gd name="T3" fmla="*/ 5 h 62"/>
                  <a:gd name="T4" fmla="*/ 31 w 46"/>
                  <a:gd name="T5" fmla="*/ 3 h 62"/>
                  <a:gd name="T6" fmla="*/ 39 w 46"/>
                  <a:gd name="T7" fmla="*/ 1 h 62"/>
                  <a:gd name="T8" fmla="*/ 46 w 46"/>
                  <a:gd name="T9" fmla="*/ 0 h 62"/>
                  <a:gd name="T10" fmla="*/ 46 w 46"/>
                  <a:gd name="T11" fmla="*/ 9 h 62"/>
                  <a:gd name="T12" fmla="*/ 46 w 46"/>
                  <a:gd name="T13" fmla="*/ 18 h 62"/>
                  <a:gd name="T14" fmla="*/ 46 w 46"/>
                  <a:gd name="T15" fmla="*/ 27 h 62"/>
                  <a:gd name="T16" fmla="*/ 46 w 46"/>
                  <a:gd name="T17" fmla="*/ 38 h 62"/>
                  <a:gd name="T18" fmla="*/ 45 w 46"/>
                  <a:gd name="T19" fmla="*/ 46 h 62"/>
                  <a:gd name="T20" fmla="*/ 41 w 46"/>
                  <a:gd name="T21" fmla="*/ 54 h 62"/>
                  <a:gd name="T22" fmla="*/ 39 w 46"/>
                  <a:gd name="T23" fmla="*/ 57 h 62"/>
                  <a:gd name="T24" fmla="*/ 37 w 46"/>
                  <a:gd name="T25" fmla="*/ 60 h 62"/>
                  <a:gd name="T26" fmla="*/ 35 w 46"/>
                  <a:gd name="T27" fmla="*/ 61 h 62"/>
                  <a:gd name="T28" fmla="*/ 33 w 46"/>
                  <a:gd name="T29" fmla="*/ 62 h 62"/>
                  <a:gd name="T30" fmla="*/ 27 w 46"/>
                  <a:gd name="T31" fmla="*/ 61 h 62"/>
                  <a:gd name="T32" fmla="*/ 22 w 46"/>
                  <a:gd name="T33" fmla="*/ 60 h 62"/>
                  <a:gd name="T34" fmla="*/ 17 w 46"/>
                  <a:gd name="T35" fmla="*/ 59 h 62"/>
                  <a:gd name="T36" fmla="*/ 14 w 46"/>
                  <a:gd name="T37" fmla="*/ 57 h 62"/>
                  <a:gd name="T38" fmla="*/ 11 w 46"/>
                  <a:gd name="T39" fmla="*/ 54 h 62"/>
                  <a:gd name="T40" fmla="*/ 7 w 46"/>
                  <a:gd name="T41" fmla="*/ 51 h 62"/>
                  <a:gd name="T42" fmla="*/ 5 w 46"/>
                  <a:gd name="T43" fmla="*/ 47 h 62"/>
                  <a:gd name="T44" fmla="*/ 4 w 46"/>
                  <a:gd name="T45" fmla="*/ 44 h 62"/>
                  <a:gd name="T46" fmla="*/ 1 w 46"/>
                  <a:gd name="T47" fmla="*/ 34 h 62"/>
                  <a:gd name="T48" fmla="*/ 0 w 46"/>
                  <a:gd name="T49" fmla="*/ 25 h 62"/>
                  <a:gd name="T50" fmla="*/ 0 w 46"/>
                  <a:gd name="T51" fmla="*/ 16 h 62"/>
                  <a:gd name="T52" fmla="*/ 0 w 46"/>
                  <a:gd name="T53" fmla="*/ 6 h 62"/>
                  <a:gd name="T54" fmla="*/ 6 w 46"/>
                  <a:gd name="T55" fmla="*/ 6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71" name="Freeform 294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59 w 152"/>
                  <a:gd name="T1" fmla="*/ 0 h 296"/>
                  <a:gd name="T2" fmla="*/ 66 w 152"/>
                  <a:gd name="T3" fmla="*/ 9 h 296"/>
                  <a:gd name="T4" fmla="*/ 77 w 152"/>
                  <a:gd name="T5" fmla="*/ 17 h 296"/>
                  <a:gd name="T6" fmla="*/ 88 w 152"/>
                  <a:gd name="T7" fmla="*/ 23 h 296"/>
                  <a:gd name="T8" fmla="*/ 99 w 152"/>
                  <a:gd name="T9" fmla="*/ 25 h 296"/>
                  <a:gd name="T10" fmla="*/ 108 w 152"/>
                  <a:gd name="T11" fmla="*/ 21 h 296"/>
                  <a:gd name="T12" fmla="*/ 118 w 152"/>
                  <a:gd name="T13" fmla="*/ 12 h 296"/>
                  <a:gd name="T14" fmla="*/ 122 w 152"/>
                  <a:gd name="T15" fmla="*/ 35 h 296"/>
                  <a:gd name="T16" fmla="*/ 130 w 152"/>
                  <a:gd name="T17" fmla="*/ 62 h 296"/>
                  <a:gd name="T18" fmla="*/ 141 w 152"/>
                  <a:gd name="T19" fmla="*/ 86 h 296"/>
                  <a:gd name="T20" fmla="*/ 147 w 152"/>
                  <a:gd name="T21" fmla="*/ 94 h 296"/>
                  <a:gd name="T22" fmla="*/ 152 w 152"/>
                  <a:gd name="T23" fmla="*/ 99 h 296"/>
                  <a:gd name="T24" fmla="*/ 143 w 152"/>
                  <a:gd name="T25" fmla="*/ 120 h 296"/>
                  <a:gd name="T26" fmla="*/ 129 w 152"/>
                  <a:gd name="T27" fmla="*/ 140 h 296"/>
                  <a:gd name="T28" fmla="*/ 117 w 152"/>
                  <a:gd name="T29" fmla="*/ 157 h 296"/>
                  <a:gd name="T30" fmla="*/ 112 w 152"/>
                  <a:gd name="T31" fmla="*/ 172 h 296"/>
                  <a:gd name="T32" fmla="*/ 115 w 152"/>
                  <a:gd name="T33" fmla="*/ 197 h 296"/>
                  <a:gd name="T34" fmla="*/ 115 w 152"/>
                  <a:gd name="T35" fmla="*/ 205 h 296"/>
                  <a:gd name="T36" fmla="*/ 112 w 152"/>
                  <a:gd name="T37" fmla="*/ 216 h 296"/>
                  <a:gd name="T38" fmla="*/ 126 w 152"/>
                  <a:gd name="T39" fmla="*/ 216 h 296"/>
                  <a:gd name="T40" fmla="*/ 146 w 152"/>
                  <a:gd name="T41" fmla="*/ 216 h 296"/>
                  <a:gd name="T42" fmla="*/ 136 w 152"/>
                  <a:gd name="T43" fmla="*/ 252 h 296"/>
                  <a:gd name="T44" fmla="*/ 136 w 152"/>
                  <a:gd name="T45" fmla="*/ 267 h 296"/>
                  <a:gd name="T46" fmla="*/ 146 w 152"/>
                  <a:gd name="T47" fmla="*/ 283 h 296"/>
                  <a:gd name="T48" fmla="*/ 125 w 152"/>
                  <a:gd name="T49" fmla="*/ 291 h 296"/>
                  <a:gd name="T50" fmla="*/ 105 w 152"/>
                  <a:gd name="T51" fmla="*/ 296 h 296"/>
                  <a:gd name="T52" fmla="*/ 85 w 152"/>
                  <a:gd name="T53" fmla="*/ 294 h 296"/>
                  <a:gd name="T54" fmla="*/ 73 w 152"/>
                  <a:gd name="T55" fmla="*/ 288 h 296"/>
                  <a:gd name="T56" fmla="*/ 67 w 152"/>
                  <a:gd name="T57" fmla="*/ 280 h 296"/>
                  <a:gd name="T58" fmla="*/ 66 w 152"/>
                  <a:gd name="T59" fmla="*/ 271 h 296"/>
                  <a:gd name="T60" fmla="*/ 85 w 152"/>
                  <a:gd name="T61" fmla="*/ 253 h 296"/>
                  <a:gd name="T62" fmla="*/ 69 w 152"/>
                  <a:gd name="T63" fmla="*/ 249 h 296"/>
                  <a:gd name="T64" fmla="*/ 52 w 152"/>
                  <a:gd name="T65" fmla="*/ 242 h 296"/>
                  <a:gd name="T66" fmla="*/ 38 w 152"/>
                  <a:gd name="T67" fmla="*/ 231 h 296"/>
                  <a:gd name="T68" fmla="*/ 25 w 152"/>
                  <a:gd name="T69" fmla="*/ 219 h 296"/>
                  <a:gd name="T70" fmla="*/ 14 w 152"/>
                  <a:gd name="T71" fmla="*/ 205 h 296"/>
                  <a:gd name="T72" fmla="*/ 6 w 152"/>
                  <a:gd name="T73" fmla="*/ 190 h 296"/>
                  <a:gd name="T74" fmla="*/ 1 w 152"/>
                  <a:gd name="T75" fmla="*/ 172 h 296"/>
                  <a:gd name="T76" fmla="*/ 0 w 152"/>
                  <a:gd name="T77" fmla="*/ 154 h 296"/>
                  <a:gd name="T78" fmla="*/ 0 w 152"/>
                  <a:gd name="T79" fmla="*/ 130 h 296"/>
                  <a:gd name="T80" fmla="*/ 27 w 152"/>
                  <a:gd name="T81" fmla="*/ 106 h 296"/>
                  <a:gd name="T82" fmla="*/ 32 w 152"/>
                  <a:gd name="T83" fmla="*/ 46 h 296"/>
                  <a:gd name="T84" fmla="*/ 31 w 152"/>
                  <a:gd name="T85" fmla="*/ 18 h 296"/>
                  <a:gd name="T86" fmla="*/ 28 w 152"/>
                  <a:gd name="T87" fmla="*/ 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72" name="Freeform 295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26 w 26"/>
                  <a:gd name="T1" fmla="*/ 38 h 38"/>
                  <a:gd name="T2" fmla="*/ 26 w 26"/>
                  <a:gd name="T3" fmla="*/ 0 h 38"/>
                  <a:gd name="T4" fmla="*/ 21 w 26"/>
                  <a:gd name="T5" fmla="*/ 1 h 38"/>
                  <a:gd name="T6" fmla="*/ 13 w 26"/>
                  <a:gd name="T7" fmla="*/ 4 h 38"/>
                  <a:gd name="T8" fmla="*/ 6 w 26"/>
                  <a:gd name="T9" fmla="*/ 8 h 38"/>
                  <a:gd name="T10" fmla="*/ 0 w 26"/>
                  <a:gd name="T11" fmla="*/ 13 h 38"/>
                  <a:gd name="T12" fmla="*/ 18 w 26"/>
                  <a:gd name="T13" fmla="*/ 30 h 38"/>
                  <a:gd name="T14" fmla="*/ 26 w 26"/>
                  <a:gd name="T1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73" name="Freeform 296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18 h 31"/>
                  <a:gd name="T2" fmla="*/ 8 w 34"/>
                  <a:gd name="T3" fmla="*/ 22 h 31"/>
                  <a:gd name="T4" fmla="*/ 17 w 34"/>
                  <a:gd name="T5" fmla="*/ 26 h 31"/>
                  <a:gd name="T6" fmla="*/ 27 w 34"/>
                  <a:gd name="T7" fmla="*/ 30 h 31"/>
                  <a:gd name="T8" fmla="*/ 34 w 34"/>
                  <a:gd name="T9" fmla="*/ 31 h 31"/>
                  <a:gd name="T10" fmla="*/ 33 w 34"/>
                  <a:gd name="T11" fmla="*/ 24 h 31"/>
                  <a:gd name="T12" fmla="*/ 30 w 34"/>
                  <a:gd name="T13" fmla="*/ 15 h 31"/>
                  <a:gd name="T14" fmla="*/ 26 w 34"/>
                  <a:gd name="T15" fmla="*/ 6 h 31"/>
                  <a:gd name="T16" fmla="*/ 20 w 34"/>
                  <a:gd name="T17" fmla="*/ 0 h 31"/>
                  <a:gd name="T18" fmla="*/ 16 w 34"/>
                  <a:gd name="T19" fmla="*/ 5 h 31"/>
                  <a:gd name="T20" fmla="*/ 10 w 34"/>
                  <a:gd name="T21" fmla="*/ 11 h 31"/>
                  <a:gd name="T22" fmla="*/ 8 w 34"/>
                  <a:gd name="T23" fmla="*/ 14 h 31"/>
                  <a:gd name="T24" fmla="*/ 6 w 34"/>
                  <a:gd name="T25" fmla="*/ 16 h 31"/>
                  <a:gd name="T26" fmla="*/ 4 w 34"/>
                  <a:gd name="T27" fmla="*/ 18 h 31"/>
                  <a:gd name="T28" fmla="*/ 0 w 34"/>
                  <a:gd name="T29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74" name="Freeform 297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6 h 37"/>
                  <a:gd name="T2" fmla="*/ 0 w 20"/>
                  <a:gd name="T3" fmla="*/ 37 h 37"/>
                  <a:gd name="T4" fmla="*/ 7 w 20"/>
                  <a:gd name="T5" fmla="*/ 33 h 37"/>
                  <a:gd name="T6" fmla="*/ 20 w 20"/>
                  <a:gd name="T7" fmla="*/ 30 h 37"/>
                  <a:gd name="T8" fmla="*/ 20 w 20"/>
                  <a:gd name="T9" fmla="*/ 0 h 37"/>
                  <a:gd name="T10" fmla="*/ 0 w 20"/>
                  <a:gd name="T11" fmla="*/ 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75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76" name="Freeform 299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18 h 18"/>
                  <a:gd name="T2" fmla="*/ 1 w 13"/>
                  <a:gd name="T3" fmla="*/ 13 h 18"/>
                  <a:gd name="T4" fmla="*/ 3 w 13"/>
                  <a:gd name="T5" fmla="*/ 9 h 18"/>
                  <a:gd name="T6" fmla="*/ 7 w 13"/>
                  <a:gd name="T7" fmla="*/ 4 h 18"/>
                  <a:gd name="T8" fmla="*/ 13 w 13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77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78" name="Freeform 301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20 w 27"/>
                  <a:gd name="T3" fmla="*/ 31 h 31"/>
                  <a:gd name="T4" fmla="*/ 27 w 27"/>
                  <a:gd name="T5" fmla="*/ 13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79" name="Freeform 302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20 w 20"/>
                  <a:gd name="T1" fmla="*/ 10 w 20"/>
                  <a:gd name="T2" fmla="*/ 0 w 2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0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80" name="Freeform 303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13 h 13"/>
                  <a:gd name="T2" fmla="*/ 6 w 34"/>
                  <a:gd name="T3" fmla="*/ 13 h 13"/>
                  <a:gd name="T4" fmla="*/ 10 w 34"/>
                  <a:gd name="T5" fmla="*/ 11 h 13"/>
                  <a:gd name="T6" fmla="*/ 16 w 34"/>
                  <a:gd name="T7" fmla="*/ 10 h 13"/>
                  <a:gd name="T8" fmla="*/ 20 w 34"/>
                  <a:gd name="T9" fmla="*/ 7 h 13"/>
                  <a:gd name="T10" fmla="*/ 28 w 34"/>
                  <a:gd name="T11" fmla="*/ 2 h 13"/>
                  <a:gd name="T12" fmla="*/ 34 w 34"/>
                  <a:gd name="T13" fmla="*/ 0 h 13"/>
                  <a:gd name="T14" fmla="*/ 25 w 34"/>
                  <a:gd name="T15" fmla="*/ 0 h 13"/>
                  <a:gd name="T16" fmla="*/ 15 w 34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81" name="Freeform 304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34 w 34"/>
                  <a:gd name="T1" fmla="*/ 18 h 18"/>
                  <a:gd name="T2" fmla="*/ 34 w 34"/>
                  <a:gd name="T3" fmla="*/ 0 h 18"/>
                  <a:gd name="T4" fmla="*/ 28 w 34"/>
                  <a:gd name="T5" fmla="*/ 0 h 18"/>
                  <a:gd name="T6" fmla="*/ 20 w 34"/>
                  <a:gd name="T7" fmla="*/ 0 h 18"/>
                  <a:gd name="T8" fmla="*/ 10 w 34"/>
                  <a:gd name="T9" fmla="*/ 0 h 18"/>
                  <a:gd name="T10" fmla="*/ 0 w 34"/>
                  <a:gd name="T11" fmla="*/ 0 h 18"/>
                  <a:gd name="T12" fmla="*/ 34 w 34"/>
                  <a:gd name="T1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82" name="Freeform 305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53 w 59"/>
                  <a:gd name="T1" fmla="*/ 25 h 25"/>
                  <a:gd name="T2" fmla="*/ 56 w 59"/>
                  <a:gd name="T3" fmla="*/ 12 h 25"/>
                  <a:gd name="T4" fmla="*/ 59 w 59"/>
                  <a:gd name="T5" fmla="*/ 0 h 25"/>
                  <a:gd name="T6" fmla="*/ 44 w 59"/>
                  <a:gd name="T7" fmla="*/ 0 h 25"/>
                  <a:gd name="T8" fmla="*/ 27 w 59"/>
                  <a:gd name="T9" fmla="*/ 0 h 25"/>
                  <a:gd name="T10" fmla="*/ 19 w 59"/>
                  <a:gd name="T11" fmla="*/ 1 h 25"/>
                  <a:gd name="T12" fmla="*/ 12 w 59"/>
                  <a:gd name="T13" fmla="*/ 2 h 25"/>
                  <a:gd name="T14" fmla="*/ 5 w 59"/>
                  <a:gd name="T15" fmla="*/ 4 h 25"/>
                  <a:gd name="T16" fmla="*/ 0 w 59"/>
                  <a:gd name="T17" fmla="*/ 6 h 25"/>
                  <a:gd name="T18" fmla="*/ 13 w 59"/>
                  <a:gd name="T19" fmla="*/ 14 h 25"/>
                  <a:gd name="T20" fmla="*/ 26 w 59"/>
                  <a:gd name="T21" fmla="*/ 20 h 25"/>
                  <a:gd name="T22" fmla="*/ 33 w 59"/>
                  <a:gd name="T23" fmla="*/ 22 h 25"/>
                  <a:gd name="T24" fmla="*/ 38 w 59"/>
                  <a:gd name="T25" fmla="*/ 24 h 25"/>
                  <a:gd name="T26" fmla="*/ 46 w 59"/>
                  <a:gd name="T27" fmla="*/ 25 h 25"/>
                  <a:gd name="T28" fmla="*/ 53 w 59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83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</p:grpSp>
        <p:sp>
          <p:nvSpPr>
            <p:cNvPr id="215" name="Freeform 307"/>
            <p:cNvSpPr>
              <a:spLocks/>
            </p:cNvSpPr>
            <p:nvPr>
              <p:custDataLst>
                <p:tags r:id="rId209"/>
              </p:custDataLst>
            </p:nvPr>
          </p:nvSpPr>
          <p:spPr bwMode="auto">
            <a:xfrm>
              <a:off x="7280275" y="3879850"/>
              <a:ext cx="14288" cy="55563"/>
            </a:xfrm>
            <a:custGeom>
              <a:avLst/>
              <a:gdLst>
                <a:gd name="T0" fmla="*/ 0 w 33"/>
                <a:gd name="T1" fmla="*/ 43 h 43"/>
                <a:gd name="T2" fmla="*/ 1 w 33"/>
                <a:gd name="T3" fmla="*/ 34 h 43"/>
                <a:gd name="T4" fmla="*/ 2 w 33"/>
                <a:gd name="T5" fmla="*/ 27 h 43"/>
                <a:gd name="T6" fmla="*/ 5 w 33"/>
                <a:gd name="T7" fmla="*/ 21 h 43"/>
                <a:gd name="T8" fmla="*/ 9 w 33"/>
                <a:gd name="T9" fmla="*/ 15 h 43"/>
                <a:gd name="T10" fmla="*/ 14 w 33"/>
                <a:gd name="T11" fmla="*/ 9 h 43"/>
                <a:gd name="T12" fmla="*/ 20 w 33"/>
                <a:gd name="T13" fmla="*/ 5 h 43"/>
                <a:gd name="T14" fmla="*/ 26 w 33"/>
                <a:gd name="T15" fmla="*/ 2 h 43"/>
                <a:gd name="T16" fmla="*/ 33 w 33"/>
                <a:gd name="T17" fmla="*/ 0 h 43"/>
                <a:gd name="T18" fmla="*/ 33 w 33"/>
                <a:gd name="T19" fmla="*/ 25 h 43"/>
                <a:gd name="T20" fmla="*/ 23 w 33"/>
                <a:gd name="T21" fmla="*/ 27 h 43"/>
                <a:gd name="T22" fmla="*/ 18 w 33"/>
                <a:gd name="T23" fmla="*/ 29 h 43"/>
                <a:gd name="T24" fmla="*/ 16 w 33"/>
                <a:gd name="T25" fmla="*/ 32 h 43"/>
                <a:gd name="T26" fmla="*/ 16 w 33"/>
                <a:gd name="T27" fmla="*/ 34 h 43"/>
                <a:gd name="T28" fmla="*/ 16 w 33"/>
                <a:gd name="T29" fmla="*/ 36 h 43"/>
                <a:gd name="T30" fmla="*/ 14 w 33"/>
                <a:gd name="T31" fmla="*/ 38 h 43"/>
                <a:gd name="T32" fmla="*/ 10 w 33"/>
                <a:gd name="T33" fmla="*/ 41 h 43"/>
                <a:gd name="T34" fmla="*/ 0 w 33"/>
                <a:gd name="T3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6" name="Freeform 308"/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7356475" y="3819525"/>
              <a:ext cx="22225" cy="58738"/>
            </a:xfrm>
            <a:custGeom>
              <a:avLst/>
              <a:gdLst>
                <a:gd name="T0" fmla="*/ 0 w 54"/>
                <a:gd name="T1" fmla="*/ 55 h 92"/>
                <a:gd name="T2" fmla="*/ 1 w 54"/>
                <a:gd name="T3" fmla="*/ 51 h 92"/>
                <a:gd name="T4" fmla="*/ 2 w 54"/>
                <a:gd name="T5" fmla="*/ 46 h 92"/>
                <a:gd name="T6" fmla="*/ 3 w 54"/>
                <a:gd name="T7" fmla="*/ 42 h 92"/>
                <a:gd name="T8" fmla="*/ 6 w 54"/>
                <a:gd name="T9" fmla="*/ 37 h 92"/>
                <a:gd name="T10" fmla="*/ 11 w 54"/>
                <a:gd name="T11" fmla="*/ 29 h 92"/>
                <a:gd name="T12" fmla="*/ 18 w 54"/>
                <a:gd name="T13" fmla="*/ 21 h 92"/>
                <a:gd name="T14" fmla="*/ 31 w 54"/>
                <a:gd name="T15" fmla="*/ 7 h 92"/>
                <a:gd name="T16" fmla="*/ 41 w 54"/>
                <a:gd name="T17" fmla="*/ 0 h 92"/>
                <a:gd name="T18" fmla="*/ 54 w 54"/>
                <a:gd name="T19" fmla="*/ 12 h 92"/>
                <a:gd name="T20" fmla="*/ 51 w 54"/>
                <a:gd name="T21" fmla="*/ 21 h 92"/>
                <a:gd name="T22" fmla="*/ 47 w 54"/>
                <a:gd name="T23" fmla="*/ 29 h 92"/>
                <a:gd name="T24" fmla="*/ 44 w 54"/>
                <a:gd name="T25" fmla="*/ 35 h 92"/>
                <a:gd name="T26" fmla="*/ 41 w 54"/>
                <a:gd name="T27" fmla="*/ 41 h 92"/>
                <a:gd name="T28" fmla="*/ 33 w 54"/>
                <a:gd name="T29" fmla="*/ 49 h 92"/>
                <a:gd name="T30" fmla="*/ 28 w 54"/>
                <a:gd name="T31" fmla="*/ 55 h 92"/>
                <a:gd name="T32" fmla="*/ 26 w 54"/>
                <a:gd name="T33" fmla="*/ 64 h 92"/>
                <a:gd name="T34" fmla="*/ 26 w 54"/>
                <a:gd name="T35" fmla="*/ 74 h 92"/>
                <a:gd name="T36" fmla="*/ 24 w 54"/>
                <a:gd name="T37" fmla="*/ 83 h 92"/>
                <a:gd name="T38" fmla="*/ 20 w 54"/>
                <a:gd name="T39" fmla="*/ 92 h 92"/>
                <a:gd name="T40" fmla="*/ 14 w 54"/>
                <a:gd name="T41" fmla="*/ 83 h 92"/>
                <a:gd name="T42" fmla="*/ 8 w 54"/>
                <a:gd name="T43" fmla="*/ 74 h 92"/>
                <a:gd name="T44" fmla="*/ 5 w 54"/>
                <a:gd name="T45" fmla="*/ 70 h 92"/>
                <a:gd name="T46" fmla="*/ 2 w 54"/>
                <a:gd name="T47" fmla="*/ 64 h 92"/>
                <a:gd name="T48" fmla="*/ 1 w 54"/>
                <a:gd name="T49" fmla="*/ 60 h 92"/>
                <a:gd name="T50" fmla="*/ 0 w 54"/>
                <a:gd name="T51" fmla="*/ 5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rgbClr val="A5D7D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7" name="Freeform 309"/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7404100" y="3698875"/>
              <a:ext cx="23813" cy="57150"/>
            </a:xfrm>
            <a:custGeom>
              <a:avLst/>
              <a:gdLst>
                <a:gd name="T0" fmla="*/ 0 w 60"/>
                <a:gd name="T1" fmla="*/ 0 h 18"/>
                <a:gd name="T2" fmla="*/ 19 w 60"/>
                <a:gd name="T3" fmla="*/ 4 h 18"/>
                <a:gd name="T4" fmla="*/ 37 w 60"/>
                <a:gd name="T5" fmla="*/ 9 h 18"/>
                <a:gd name="T6" fmla="*/ 45 w 60"/>
                <a:gd name="T7" fmla="*/ 11 h 18"/>
                <a:gd name="T8" fmla="*/ 51 w 60"/>
                <a:gd name="T9" fmla="*/ 13 h 18"/>
                <a:gd name="T10" fmla="*/ 56 w 60"/>
                <a:gd name="T11" fmla="*/ 16 h 18"/>
                <a:gd name="T12" fmla="*/ 60 w 60"/>
                <a:gd name="T13" fmla="*/ 18 h 18"/>
                <a:gd name="T14" fmla="*/ 38 w 60"/>
                <a:gd name="T15" fmla="*/ 18 h 18"/>
                <a:gd name="T16" fmla="*/ 23 w 60"/>
                <a:gd name="T17" fmla="*/ 18 h 18"/>
                <a:gd name="T18" fmla="*/ 10 w 60"/>
                <a:gd name="T19" fmla="*/ 18 h 18"/>
                <a:gd name="T20" fmla="*/ 0 w 60"/>
                <a:gd name="T21" fmla="*/ 18 h 18"/>
                <a:gd name="T22" fmla="*/ 0 w 60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A5D7D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8" name="Freeform 310"/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7388225" y="3668713"/>
              <a:ext cx="25400" cy="57150"/>
            </a:xfrm>
            <a:custGeom>
              <a:avLst/>
              <a:gdLst>
                <a:gd name="T0" fmla="*/ 0 w 66"/>
                <a:gd name="T1" fmla="*/ 18 h 18"/>
                <a:gd name="T2" fmla="*/ 66 w 66"/>
                <a:gd name="T3" fmla="*/ 18 h 18"/>
                <a:gd name="T4" fmla="*/ 52 w 66"/>
                <a:gd name="T5" fmla="*/ 13 h 18"/>
                <a:gd name="T6" fmla="*/ 40 w 66"/>
                <a:gd name="T7" fmla="*/ 7 h 18"/>
                <a:gd name="T8" fmla="*/ 35 w 66"/>
                <a:gd name="T9" fmla="*/ 4 h 18"/>
                <a:gd name="T10" fmla="*/ 29 w 66"/>
                <a:gd name="T11" fmla="*/ 2 h 18"/>
                <a:gd name="T12" fmla="*/ 25 w 66"/>
                <a:gd name="T13" fmla="*/ 1 h 18"/>
                <a:gd name="T14" fmla="*/ 19 w 66"/>
                <a:gd name="T15" fmla="*/ 0 h 18"/>
                <a:gd name="T16" fmla="*/ 0 w 66"/>
                <a:gd name="T1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rgbClr val="A5D7D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9" name="Freeform 311"/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7213600" y="3565525"/>
              <a:ext cx="7938" cy="57150"/>
            </a:xfrm>
            <a:custGeom>
              <a:avLst/>
              <a:gdLst>
                <a:gd name="T0" fmla="*/ 0 w 17"/>
                <a:gd name="T1" fmla="*/ 36 h 42"/>
                <a:gd name="T2" fmla="*/ 13 w 17"/>
                <a:gd name="T3" fmla="*/ 42 h 42"/>
                <a:gd name="T4" fmla="*/ 14 w 17"/>
                <a:gd name="T5" fmla="*/ 33 h 42"/>
                <a:gd name="T6" fmla="*/ 16 w 17"/>
                <a:gd name="T7" fmla="*/ 23 h 42"/>
                <a:gd name="T8" fmla="*/ 17 w 17"/>
                <a:gd name="T9" fmla="*/ 18 h 42"/>
                <a:gd name="T10" fmla="*/ 16 w 17"/>
                <a:gd name="T11" fmla="*/ 12 h 42"/>
                <a:gd name="T12" fmla="*/ 16 w 17"/>
                <a:gd name="T13" fmla="*/ 6 h 42"/>
                <a:gd name="T14" fmla="*/ 13 w 17"/>
                <a:gd name="T15" fmla="*/ 0 h 42"/>
                <a:gd name="T16" fmla="*/ 0 w 17"/>
                <a:gd name="T17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20" name="Freeform 312"/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7140575" y="3700463"/>
              <a:ext cx="30163" cy="58737"/>
            </a:xfrm>
            <a:custGeom>
              <a:avLst/>
              <a:gdLst>
                <a:gd name="T0" fmla="*/ 6 w 72"/>
                <a:gd name="T1" fmla="*/ 29 h 29"/>
                <a:gd name="T2" fmla="*/ 15 w 72"/>
                <a:gd name="T3" fmla="*/ 26 h 29"/>
                <a:gd name="T4" fmla="*/ 24 w 72"/>
                <a:gd name="T5" fmla="*/ 24 h 29"/>
                <a:gd name="T6" fmla="*/ 32 w 72"/>
                <a:gd name="T7" fmla="*/ 24 h 29"/>
                <a:gd name="T8" fmla="*/ 39 w 72"/>
                <a:gd name="T9" fmla="*/ 24 h 29"/>
                <a:gd name="T10" fmla="*/ 55 w 72"/>
                <a:gd name="T11" fmla="*/ 27 h 29"/>
                <a:gd name="T12" fmla="*/ 72 w 72"/>
                <a:gd name="T13" fmla="*/ 29 h 29"/>
                <a:gd name="T14" fmla="*/ 72 w 72"/>
                <a:gd name="T15" fmla="*/ 4 h 29"/>
                <a:gd name="T16" fmla="*/ 58 w 72"/>
                <a:gd name="T17" fmla="*/ 1 h 29"/>
                <a:gd name="T18" fmla="*/ 47 w 72"/>
                <a:gd name="T19" fmla="*/ 0 h 29"/>
                <a:gd name="T20" fmla="*/ 39 w 72"/>
                <a:gd name="T21" fmla="*/ 0 h 29"/>
                <a:gd name="T22" fmla="*/ 34 w 72"/>
                <a:gd name="T23" fmla="*/ 2 h 29"/>
                <a:gd name="T24" fmla="*/ 27 w 72"/>
                <a:gd name="T25" fmla="*/ 3 h 29"/>
                <a:gd name="T26" fmla="*/ 21 w 72"/>
                <a:gd name="T27" fmla="*/ 5 h 29"/>
                <a:gd name="T28" fmla="*/ 12 w 72"/>
                <a:gd name="T29" fmla="*/ 5 h 29"/>
                <a:gd name="T30" fmla="*/ 0 w 72"/>
                <a:gd name="T31" fmla="*/ 4 h 29"/>
                <a:gd name="T32" fmla="*/ 3 w 72"/>
                <a:gd name="T33" fmla="*/ 16 h 29"/>
                <a:gd name="T34" fmla="*/ 6 w 72"/>
                <a:gd name="T3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rgbClr val="A5D7D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21" name="Freeform 313"/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7148513" y="3886200"/>
              <a:ext cx="19050" cy="55563"/>
            </a:xfrm>
            <a:custGeom>
              <a:avLst/>
              <a:gdLst>
                <a:gd name="T0" fmla="*/ 0 w 46"/>
                <a:gd name="T1" fmla="*/ 0 h 37"/>
                <a:gd name="T2" fmla="*/ 9 w 46"/>
                <a:gd name="T3" fmla="*/ 9 h 37"/>
                <a:gd name="T4" fmla="*/ 20 w 46"/>
                <a:gd name="T5" fmla="*/ 15 h 37"/>
                <a:gd name="T6" fmla="*/ 31 w 46"/>
                <a:gd name="T7" fmla="*/ 20 h 37"/>
                <a:gd name="T8" fmla="*/ 46 w 46"/>
                <a:gd name="T9" fmla="*/ 25 h 37"/>
                <a:gd name="T10" fmla="*/ 37 w 46"/>
                <a:gd name="T11" fmla="*/ 29 h 37"/>
                <a:gd name="T12" fmla="*/ 29 w 46"/>
                <a:gd name="T13" fmla="*/ 33 h 37"/>
                <a:gd name="T14" fmla="*/ 21 w 46"/>
                <a:gd name="T15" fmla="*/ 36 h 37"/>
                <a:gd name="T16" fmla="*/ 13 w 46"/>
                <a:gd name="T17" fmla="*/ 37 h 37"/>
                <a:gd name="T18" fmla="*/ 9 w 46"/>
                <a:gd name="T19" fmla="*/ 36 h 37"/>
                <a:gd name="T20" fmla="*/ 7 w 46"/>
                <a:gd name="T21" fmla="*/ 33 h 37"/>
                <a:gd name="T22" fmla="*/ 5 w 46"/>
                <a:gd name="T23" fmla="*/ 29 h 37"/>
                <a:gd name="T24" fmla="*/ 3 w 46"/>
                <a:gd name="T25" fmla="*/ 23 h 37"/>
                <a:gd name="T26" fmla="*/ 1 w 46"/>
                <a:gd name="T27" fmla="*/ 12 h 37"/>
                <a:gd name="T28" fmla="*/ 0 w 46"/>
                <a:gd name="T2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22" name="Freeform 314"/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7261225" y="3705225"/>
              <a:ext cx="11113" cy="57150"/>
            </a:xfrm>
            <a:custGeom>
              <a:avLst/>
              <a:gdLst>
                <a:gd name="T0" fmla="*/ 0 w 26"/>
                <a:gd name="T1" fmla="*/ 0 h 19"/>
                <a:gd name="T2" fmla="*/ 26 w 26"/>
                <a:gd name="T3" fmla="*/ 19 h 19"/>
                <a:gd name="T4" fmla="*/ 26 w 26"/>
                <a:gd name="T5" fmla="*/ 9 h 19"/>
                <a:gd name="T6" fmla="*/ 26 w 26"/>
                <a:gd name="T7" fmla="*/ 0 h 19"/>
                <a:gd name="T8" fmla="*/ 15 w 26"/>
                <a:gd name="T9" fmla="*/ 0 h 19"/>
                <a:gd name="T10" fmla="*/ 0 w 26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rgbClr val="A5D7D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23" name="Freeform 315"/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7121525" y="3700463"/>
              <a:ext cx="19050" cy="58737"/>
            </a:xfrm>
            <a:custGeom>
              <a:avLst/>
              <a:gdLst>
                <a:gd name="T0" fmla="*/ 2 w 43"/>
                <a:gd name="T1" fmla="*/ 0 h 31"/>
                <a:gd name="T2" fmla="*/ 1 w 43"/>
                <a:gd name="T3" fmla="*/ 12 h 31"/>
                <a:gd name="T4" fmla="*/ 0 w 43"/>
                <a:gd name="T5" fmla="*/ 23 h 31"/>
                <a:gd name="T6" fmla="*/ 0 w 43"/>
                <a:gd name="T7" fmla="*/ 26 h 31"/>
                <a:gd name="T8" fmla="*/ 0 w 43"/>
                <a:gd name="T9" fmla="*/ 29 h 31"/>
                <a:gd name="T10" fmla="*/ 0 w 43"/>
                <a:gd name="T11" fmla="*/ 31 h 31"/>
                <a:gd name="T12" fmla="*/ 2 w 43"/>
                <a:gd name="T13" fmla="*/ 31 h 31"/>
                <a:gd name="T14" fmla="*/ 13 w 43"/>
                <a:gd name="T15" fmla="*/ 22 h 31"/>
                <a:gd name="T16" fmla="*/ 25 w 43"/>
                <a:gd name="T17" fmla="*/ 13 h 31"/>
                <a:gd name="T18" fmla="*/ 35 w 43"/>
                <a:gd name="T19" fmla="*/ 5 h 31"/>
                <a:gd name="T20" fmla="*/ 43 w 43"/>
                <a:gd name="T21" fmla="*/ 0 h 31"/>
                <a:gd name="T22" fmla="*/ 2 w 43"/>
                <a:gd name="T2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rgbClr val="A5D7D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24" name="Freeform 316"/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7165975" y="3748088"/>
              <a:ext cx="30163" cy="57150"/>
            </a:xfrm>
            <a:custGeom>
              <a:avLst/>
              <a:gdLst>
                <a:gd name="T0" fmla="*/ 4 w 71"/>
                <a:gd name="T1" fmla="*/ 12 h 49"/>
                <a:gd name="T2" fmla="*/ 4 w 71"/>
                <a:gd name="T3" fmla="*/ 18 h 49"/>
                <a:gd name="T4" fmla="*/ 5 w 71"/>
                <a:gd name="T5" fmla="*/ 25 h 49"/>
                <a:gd name="T6" fmla="*/ 7 w 71"/>
                <a:gd name="T7" fmla="*/ 31 h 49"/>
                <a:gd name="T8" fmla="*/ 9 w 71"/>
                <a:gd name="T9" fmla="*/ 37 h 49"/>
                <a:gd name="T10" fmla="*/ 14 w 71"/>
                <a:gd name="T11" fmla="*/ 41 h 49"/>
                <a:gd name="T12" fmla="*/ 18 w 71"/>
                <a:gd name="T13" fmla="*/ 46 h 49"/>
                <a:gd name="T14" fmla="*/ 23 w 71"/>
                <a:gd name="T15" fmla="*/ 48 h 49"/>
                <a:gd name="T16" fmla="*/ 30 w 71"/>
                <a:gd name="T17" fmla="*/ 49 h 49"/>
                <a:gd name="T18" fmla="*/ 35 w 71"/>
                <a:gd name="T19" fmla="*/ 48 h 49"/>
                <a:gd name="T20" fmla="*/ 40 w 71"/>
                <a:gd name="T21" fmla="*/ 46 h 49"/>
                <a:gd name="T22" fmla="*/ 45 w 71"/>
                <a:gd name="T23" fmla="*/ 42 h 49"/>
                <a:gd name="T24" fmla="*/ 50 w 71"/>
                <a:gd name="T25" fmla="*/ 37 h 49"/>
                <a:gd name="T26" fmla="*/ 60 w 71"/>
                <a:gd name="T27" fmla="*/ 28 h 49"/>
                <a:gd name="T28" fmla="*/ 71 w 71"/>
                <a:gd name="T29" fmla="*/ 18 h 49"/>
                <a:gd name="T30" fmla="*/ 61 w 71"/>
                <a:gd name="T31" fmla="*/ 12 h 49"/>
                <a:gd name="T32" fmla="*/ 52 w 71"/>
                <a:gd name="T33" fmla="*/ 9 h 49"/>
                <a:gd name="T34" fmla="*/ 44 w 71"/>
                <a:gd name="T35" fmla="*/ 7 h 49"/>
                <a:gd name="T36" fmla="*/ 37 w 71"/>
                <a:gd name="T37" fmla="*/ 6 h 49"/>
                <a:gd name="T38" fmla="*/ 29 w 71"/>
                <a:gd name="T39" fmla="*/ 6 h 49"/>
                <a:gd name="T40" fmla="*/ 21 w 71"/>
                <a:gd name="T41" fmla="*/ 5 h 49"/>
                <a:gd name="T42" fmla="*/ 14 w 71"/>
                <a:gd name="T43" fmla="*/ 3 h 49"/>
                <a:gd name="T44" fmla="*/ 4 w 71"/>
                <a:gd name="T45" fmla="*/ 0 h 49"/>
                <a:gd name="T46" fmla="*/ 3 w 71"/>
                <a:gd name="T47" fmla="*/ 1 h 49"/>
                <a:gd name="T48" fmla="*/ 1 w 71"/>
                <a:gd name="T49" fmla="*/ 6 h 49"/>
                <a:gd name="T50" fmla="*/ 0 w 71"/>
                <a:gd name="T51" fmla="*/ 8 h 49"/>
                <a:gd name="T52" fmla="*/ 0 w 71"/>
                <a:gd name="T53" fmla="*/ 10 h 49"/>
                <a:gd name="T54" fmla="*/ 1 w 71"/>
                <a:gd name="T55" fmla="*/ 11 h 49"/>
                <a:gd name="T56" fmla="*/ 4 w 71"/>
                <a:gd name="T57" fmla="*/ 1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rgbClr val="A5D7D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25" name="Freeform 317"/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6967538" y="3951288"/>
              <a:ext cx="46037" cy="58737"/>
            </a:xfrm>
            <a:custGeom>
              <a:avLst/>
              <a:gdLst>
                <a:gd name="T0" fmla="*/ 46 w 112"/>
                <a:gd name="T1" fmla="*/ 2 h 26"/>
                <a:gd name="T2" fmla="*/ 56 w 112"/>
                <a:gd name="T3" fmla="*/ 2 h 26"/>
                <a:gd name="T4" fmla="*/ 66 w 112"/>
                <a:gd name="T5" fmla="*/ 3 h 26"/>
                <a:gd name="T6" fmla="*/ 74 w 112"/>
                <a:gd name="T7" fmla="*/ 4 h 26"/>
                <a:gd name="T8" fmla="*/ 84 w 112"/>
                <a:gd name="T9" fmla="*/ 6 h 26"/>
                <a:gd name="T10" fmla="*/ 92 w 112"/>
                <a:gd name="T11" fmla="*/ 9 h 26"/>
                <a:gd name="T12" fmla="*/ 100 w 112"/>
                <a:gd name="T13" fmla="*/ 12 h 26"/>
                <a:gd name="T14" fmla="*/ 106 w 112"/>
                <a:gd name="T15" fmla="*/ 16 h 26"/>
                <a:gd name="T16" fmla="*/ 112 w 112"/>
                <a:gd name="T17" fmla="*/ 20 h 26"/>
                <a:gd name="T18" fmla="*/ 110 w 112"/>
                <a:gd name="T19" fmla="*/ 22 h 26"/>
                <a:gd name="T20" fmla="*/ 105 w 112"/>
                <a:gd name="T21" fmla="*/ 23 h 26"/>
                <a:gd name="T22" fmla="*/ 101 w 112"/>
                <a:gd name="T23" fmla="*/ 25 h 26"/>
                <a:gd name="T24" fmla="*/ 95 w 112"/>
                <a:gd name="T25" fmla="*/ 25 h 26"/>
                <a:gd name="T26" fmla="*/ 87 w 112"/>
                <a:gd name="T27" fmla="*/ 26 h 26"/>
                <a:gd name="T28" fmla="*/ 79 w 112"/>
                <a:gd name="T29" fmla="*/ 26 h 26"/>
                <a:gd name="T30" fmla="*/ 66 w 112"/>
                <a:gd name="T31" fmla="*/ 24 h 26"/>
                <a:gd name="T32" fmla="*/ 41 w 112"/>
                <a:gd name="T33" fmla="*/ 19 h 26"/>
                <a:gd name="T34" fmla="*/ 16 w 112"/>
                <a:gd name="T35" fmla="*/ 13 h 26"/>
                <a:gd name="T36" fmla="*/ 0 w 112"/>
                <a:gd name="T37" fmla="*/ 8 h 26"/>
                <a:gd name="T38" fmla="*/ 5 w 112"/>
                <a:gd name="T39" fmla="*/ 4 h 26"/>
                <a:gd name="T40" fmla="*/ 11 w 112"/>
                <a:gd name="T41" fmla="*/ 2 h 26"/>
                <a:gd name="T42" fmla="*/ 18 w 112"/>
                <a:gd name="T43" fmla="*/ 1 h 26"/>
                <a:gd name="T44" fmla="*/ 25 w 112"/>
                <a:gd name="T45" fmla="*/ 0 h 26"/>
                <a:gd name="T46" fmla="*/ 37 w 112"/>
                <a:gd name="T47" fmla="*/ 1 h 26"/>
                <a:gd name="T48" fmla="*/ 46 w 112"/>
                <a:gd name="T49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rgbClr val="A5D7D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26" name="Freeform 318"/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7065963" y="3989388"/>
              <a:ext cx="14287" cy="58737"/>
            </a:xfrm>
            <a:custGeom>
              <a:avLst/>
              <a:gdLst>
                <a:gd name="T0" fmla="*/ 0 w 41"/>
                <a:gd name="T1" fmla="*/ 0 h 25"/>
                <a:gd name="T2" fmla="*/ 41 w 41"/>
                <a:gd name="T3" fmla="*/ 0 h 25"/>
                <a:gd name="T4" fmla="*/ 28 w 41"/>
                <a:gd name="T5" fmla="*/ 8 h 25"/>
                <a:gd name="T6" fmla="*/ 18 w 41"/>
                <a:gd name="T7" fmla="*/ 15 h 25"/>
                <a:gd name="T8" fmla="*/ 9 w 41"/>
                <a:gd name="T9" fmla="*/ 20 h 25"/>
                <a:gd name="T10" fmla="*/ 0 w 41"/>
                <a:gd name="T11" fmla="*/ 25 h 25"/>
                <a:gd name="T12" fmla="*/ 0 w 41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A5D7D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27" name="Freeform 319"/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6899275" y="3921125"/>
              <a:ext cx="36513" cy="55563"/>
            </a:xfrm>
            <a:custGeom>
              <a:avLst/>
              <a:gdLst>
                <a:gd name="T0" fmla="*/ 0 w 81"/>
                <a:gd name="T1" fmla="*/ 31 h 31"/>
                <a:gd name="T2" fmla="*/ 0 w 81"/>
                <a:gd name="T3" fmla="*/ 22 h 31"/>
                <a:gd name="T4" fmla="*/ 0 w 81"/>
                <a:gd name="T5" fmla="*/ 13 h 31"/>
                <a:gd name="T6" fmla="*/ 0 w 81"/>
                <a:gd name="T7" fmla="*/ 10 h 31"/>
                <a:gd name="T8" fmla="*/ 2 w 81"/>
                <a:gd name="T9" fmla="*/ 8 h 31"/>
                <a:gd name="T10" fmla="*/ 3 w 81"/>
                <a:gd name="T11" fmla="*/ 6 h 31"/>
                <a:gd name="T12" fmla="*/ 4 w 81"/>
                <a:gd name="T13" fmla="*/ 4 h 31"/>
                <a:gd name="T14" fmla="*/ 8 w 81"/>
                <a:gd name="T15" fmla="*/ 2 h 31"/>
                <a:gd name="T16" fmla="*/ 14 w 81"/>
                <a:gd name="T17" fmla="*/ 0 h 31"/>
                <a:gd name="T18" fmla="*/ 26 w 81"/>
                <a:gd name="T19" fmla="*/ 1 h 31"/>
                <a:gd name="T20" fmla="*/ 41 w 81"/>
                <a:gd name="T21" fmla="*/ 1 h 31"/>
                <a:gd name="T22" fmla="*/ 56 w 81"/>
                <a:gd name="T23" fmla="*/ 1 h 31"/>
                <a:gd name="T24" fmla="*/ 65 w 81"/>
                <a:gd name="T25" fmla="*/ 1 h 31"/>
                <a:gd name="T26" fmla="*/ 73 w 81"/>
                <a:gd name="T27" fmla="*/ 1 h 31"/>
                <a:gd name="T28" fmla="*/ 81 w 81"/>
                <a:gd name="T29" fmla="*/ 1 h 31"/>
                <a:gd name="T30" fmla="*/ 73 w 81"/>
                <a:gd name="T31" fmla="*/ 6 h 31"/>
                <a:gd name="T32" fmla="*/ 67 w 81"/>
                <a:gd name="T33" fmla="*/ 10 h 31"/>
                <a:gd name="T34" fmla="*/ 64 w 81"/>
                <a:gd name="T35" fmla="*/ 14 h 31"/>
                <a:gd name="T36" fmla="*/ 62 w 81"/>
                <a:gd name="T37" fmla="*/ 18 h 31"/>
                <a:gd name="T38" fmla="*/ 59 w 81"/>
                <a:gd name="T39" fmla="*/ 21 h 31"/>
                <a:gd name="T40" fmla="*/ 54 w 81"/>
                <a:gd name="T41" fmla="*/ 23 h 31"/>
                <a:gd name="T42" fmla="*/ 47 w 81"/>
                <a:gd name="T43" fmla="*/ 25 h 31"/>
                <a:gd name="T44" fmla="*/ 34 w 81"/>
                <a:gd name="T45" fmla="*/ 25 h 31"/>
                <a:gd name="T46" fmla="*/ 0 w 81"/>
                <a:gd name="T4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rgbClr val="A5D7D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28" name="Freeform 320"/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6943725" y="3906838"/>
              <a:ext cx="39688" cy="55562"/>
            </a:xfrm>
            <a:custGeom>
              <a:avLst/>
              <a:gdLst>
                <a:gd name="T0" fmla="*/ 2 w 89"/>
                <a:gd name="T1" fmla="*/ 49 h 49"/>
                <a:gd name="T2" fmla="*/ 89 w 89"/>
                <a:gd name="T3" fmla="*/ 49 h 49"/>
                <a:gd name="T4" fmla="*/ 78 w 89"/>
                <a:gd name="T5" fmla="*/ 41 h 49"/>
                <a:gd name="T6" fmla="*/ 68 w 89"/>
                <a:gd name="T7" fmla="*/ 35 h 49"/>
                <a:gd name="T8" fmla="*/ 57 w 89"/>
                <a:gd name="T9" fmla="*/ 30 h 49"/>
                <a:gd name="T10" fmla="*/ 46 w 89"/>
                <a:gd name="T11" fmla="*/ 25 h 49"/>
                <a:gd name="T12" fmla="*/ 36 w 89"/>
                <a:gd name="T13" fmla="*/ 21 h 49"/>
                <a:gd name="T14" fmla="*/ 26 w 89"/>
                <a:gd name="T15" fmla="*/ 14 h 49"/>
                <a:gd name="T16" fmla="*/ 16 w 89"/>
                <a:gd name="T17" fmla="*/ 8 h 49"/>
                <a:gd name="T18" fmla="*/ 9 w 89"/>
                <a:gd name="T19" fmla="*/ 0 h 49"/>
                <a:gd name="T20" fmla="*/ 4 w 89"/>
                <a:gd name="T21" fmla="*/ 10 h 49"/>
                <a:gd name="T22" fmla="*/ 1 w 89"/>
                <a:gd name="T23" fmla="*/ 23 h 49"/>
                <a:gd name="T24" fmla="*/ 0 w 89"/>
                <a:gd name="T25" fmla="*/ 29 h 49"/>
                <a:gd name="T26" fmla="*/ 0 w 89"/>
                <a:gd name="T27" fmla="*/ 36 h 49"/>
                <a:gd name="T28" fmla="*/ 0 w 89"/>
                <a:gd name="T29" fmla="*/ 43 h 49"/>
                <a:gd name="T30" fmla="*/ 2 w 89"/>
                <a:gd name="T3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rgbClr val="A5D7D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29" name="Freeform 321"/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6996113" y="3916363"/>
              <a:ext cx="36512" cy="58737"/>
            </a:xfrm>
            <a:custGeom>
              <a:avLst/>
              <a:gdLst>
                <a:gd name="T0" fmla="*/ 0 w 86"/>
                <a:gd name="T1" fmla="*/ 21 h 46"/>
                <a:gd name="T2" fmla="*/ 14 w 86"/>
                <a:gd name="T3" fmla="*/ 26 h 46"/>
                <a:gd name="T4" fmla="*/ 25 w 86"/>
                <a:gd name="T5" fmla="*/ 29 h 46"/>
                <a:gd name="T6" fmla="*/ 30 w 86"/>
                <a:gd name="T7" fmla="*/ 30 h 46"/>
                <a:gd name="T8" fmla="*/ 36 w 86"/>
                <a:gd name="T9" fmla="*/ 30 h 46"/>
                <a:gd name="T10" fmla="*/ 41 w 86"/>
                <a:gd name="T11" fmla="*/ 29 h 46"/>
                <a:gd name="T12" fmla="*/ 46 w 86"/>
                <a:gd name="T13" fmla="*/ 27 h 46"/>
                <a:gd name="T14" fmla="*/ 46 w 86"/>
                <a:gd name="T15" fmla="*/ 36 h 46"/>
                <a:gd name="T16" fmla="*/ 46 w 86"/>
                <a:gd name="T17" fmla="*/ 46 h 46"/>
                <a:gd name="T18" fmla="*/ 56 w 86"/>
                <a:gd name="T19" fmla="*/ 45 h 46"/>
                <a:gd name="T20" fmla="*/ 67 w 86"/>
                <a:gd name="T21" fmla="*/ 43 h 46"/>
                <a:gd name="T22" fmla="*/ 77 w 86"/>
                <a:gd name="T23" fmla="*/ 40 h 46"/>
                <a:gd name="T24" fmla="*/ 86 w 86"/>
                <a:gd name="T25" fmla="*/ 40 h 46"/>
                <a:gd name="T26" fmla="*/ 83 w 86"/>
                <a:gd name="T27" fmla="*/ 32 h 46"/>
                <a:gd name="T28" fmla="*/ 80 w 86"/>
                <a:gd name="T29" fmla="*/ 25 h 46"/>
                <a:gd name="T30" fmla="*/ 74 w 86"/>
                <a:gd name="T31" fmla="*/ 19 h 46"/>
                <a:gd name="T32" fmla="*/ 70 w 86"/>
                <a:gd name="T33" fmla="*/ 14 h 46"/>
                <a:gd name="T34" fmla="*/ 64 w 86"/>
                <a:gd name="T35" fmla="*/ 9 h 46"/>
                <a:gd name="T36" fmla="*/ 58 w 86"/>
                <a:gd name="T37" fmla="*/ 6 h 46"/>
                <a:gd name="T38" fmla="*/ 51 w 86"/>
                <a:gd name="T39" fmla="*/ 3 h 46"/>
                <a:gd name="T40" fmla="*/ 46 w 86"/>
                <a:gd name="T41" fmla="*/ 1 h 46"/>
                <a:gd name="T42" fmla="*/ 39 w 86"/>
                <a:gd name="T43" fmla="*/ 0 h 46"/>
                <a:gd name="T44" fmla="*/ 33 w 86"/>
                <a:gd name="T45" fmla="*/ 0 h 46"/>
                <a:gd name="T46" fmla="*/ 26 w 86"/>
                <a:gd name="T47" fmla="*/ 1 h 46"/>
                <a:gd name="T48" fmla="*/ 19 w 86"/>
                <a:gd name="T49" fmla="*/ 3 h 46"/>
                <a:gd name="T50" fmla="*/ 14 w 86"/>
                <a:gd name="T51" fmla="*/ 6 h 46"/>
                <a:gd name="T52" fmla="*/ 8 w 86"/>
                <a:gd name="T53" fmla="*/ 10 h 46"/>
                <a:gd name="T54" fmla="*/ 4 w 86"/>
                <a:gd name="T55" fmla="*/ 15 h 46"/>
                <a:gd name="T56" fmla="*/ 0 w 86"/>
                <a:gd name="T57" fmla="*/ 2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0" name="Freeform 322"/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7048500" y="3921125"/>
              <a:ext cx="25400" cy="55563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18 h 18"/>
                <a:gd name="T4" fmla="*/ 39 w 59"/>
                <a:gd name="T5" fmla="*/ 18 h 18"/>
                <a:gd name="T6" fmla="*/ 59 w 59"/>
                <a:gd name="T7" fmla="*/ 6 h 18"/>
                <a:gd name="T8" fmla="*/ 51 w 59"/>
                <a:gd name="T9" fmla="*/ 5 h 18"/>
                <a:gd name="T10" fmla="*/ 45 w 59"/>
                <a:gd name="T11" fmla="*/ 4 h 18"/>
                <a:gd name="T12" fmla="*/ 37 w 59"/>
                <a:gd name="T13" fmla="*/ 5 h 18"/>
                <a:gd name="T14" fmla="*/ 29 w 59"/>
                <a:gd name="T15" fmla="*/ 6 h 18"/>
                <a:gd name="T16" fmla="*/ 22 w 59"/>
                <a:gd name="T17" fmla="*/ 6 h 18"/>
                <a:gd name="T18" fmla="*/ 14 w 59"/>
                <a:gd name="T19" fmla="*/ 5 h 18"/>
                <a:gd name="T20" fmla="*/ 7 w 59"/>
                <a:gd name="T21" fmla="*/ 4 h 18"/>
                <a:gd name="T22" fmla="*/ 0 w 59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rgbClr val="A5D7D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1" name="Freeform 323"/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7121525" y="3913188"/>
              <a:ext cx="1588" cy="55562"/>
            </a:xfrm>
            <a:custGeom>
              <a:avLst/>
              <a:gdLst>
                <a:gd name="T0" fmla="*/ 4 w 4"/>
                <a:gd name="T1" fmla="*/ 19 h 19"/>
                <a:gd name="T2" fmla="*/ 4 w 4"/>
                <a:gd name="T3" fmla="*/ 0 h 19"/>
                <a:gd name="T4" fmla="*/ 2 w 4"/>
                <a:gd name="T5" fmla="*/ 1 h 19"/>
                <a:gd name="T6" fmla="*/ 1 w 4"/>
                <a:gd name="T7" fmla="*/ 3 h 19"/>
                <a:gd name="T8" fmla="*/ 0 w 4"/>
                <a:gd name="T9" fmla="*/ 6 h 19"/>
                <a:gd name="T10" fmla="*/ 0 w 4"/>
                <a:gd name="T11" fmla="*/ 10 h 19"/>
                <a:gd name="T12" fmla="*/ 0 w 4"/>
                <a:gd name="T13" fmla="*/ 14 h 19"/>
                <a:gd name="T14" fmla="*/ 1 w 4"/>
                <a:gd name="T15" fmla="*/ 16 h 19"/>
                <a:gd name="T16" fmla="*/ 2 w 4"/>
                <a:gd name="T17" fmla="*/ 19 h 19"/>
                <a:gd name="T18" fmla="*/ 4 w 4"/>
                <a:gd name="T1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rgbClr val="A5D7D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2" name="Freeform 324"/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6696075" y="3727450"/>
              <a:ext cx="20638" cy="58738"/>
            </a:xfrm>
            <a:custGeom>
              <a:avLst/>
              <a:gdLst>
                <a:gd name="T0" fmla="*/ 0 w 46"/>
                <a:gd name="T1" fmla="*/ 50 h 50"/>
                <a:gd name="T2" fmla="*/ 7 w 46"/>
                <a:gd name="T3" fmla="*/ 0 h 50"/>
                <a:gd name="T4" fmla="*/ 23 w 46"/>
                <a:gd name="T5" fmla="*/ 8 h 50"/>
                <a:gd name="T6" fmla="*/ 34 w 46"/>
                <a:gd name="T7" fmla="*/ 14 h 50"/>
                <a:gd name="T8" fmla="*/ 37 w 46"/>
                <a:gd name="T9" fmla="*/ 18 h 50"/>
                <a:gd name="T10" fmla="*/ 41 w 46"/>
                <a:gd name="T11" fmla="*/ 22 h 50"/>
                <a:gd name="T12" fmla="*/ 44 w 46"/>
                <a:gd name="T13" fmla="*/ 30 h 50"/>
                <a:gd name="T14" fmla="*/ 46 w 46"/>
                <a:gd name="T15" fmla="*/ 38 h 50"/>
                <a:gd name="T16" fmla="*/ 34 w 46"/>
                <a:gd name="T17" fmla="*/ 42 h 50"/>
                <a:gd name="T18" fmla="*/ 21 w 46"/>
                <a:gd name="T19" fmla="*/ 46 h 50"/>
                <a:gd name="T20" fmla="*/ 8 w 46"/>
                <a:gd name="T21" fmla="*/ 49 h 50"/>
                <a:gd name="T22" fmla="*/ 0 w 46"/>
                <a:gd name="T2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3" name="Freeform 325"/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6642100" y="3700463"/>
              <a:ext cx="30163" cy="58737"/>
            </a:xfrm>
            <a:custGeom>
              <a:avLst/>
              <a:gdLst>
                <a:gd name="T0" fmla="*/ 0 w 66"/>
                <a:gd name="T1" fmla="*/ 0 h 80"/>
                <a:gd name="T2" fmla="*/ 10 w 66"/>
                <a:gd name="T3" fmla="*/ 0 h 80"/>
                <a:gd name="T4" fmla="*/ 18 w 66"/>
                <a:gd name="T5" fmla="*/ 0 h 80"/>
                <a:gd name="T6" fmla="*/ 26 w 66"/>
                <a:gd name="T7" fmla="*/ 0 h 80"/>
                <a:gd name="T8" fmla="*/ 33 w 66"/>
                <a:gd name="T9" fmla="*/ 0 h 80"/>
                <a:gd name="T10" fmla="*/ 33 w 66"/>
                <a:gd name="T11" fmla="*/ 7 h 80"/>
                <a:gd name="T12" fmla="*/ 34 w 66"/>
                <a:gd name="T13" fmla="*/ 14 h 80"/>
                <a:gd name="T14" fmla="*/ 36 w 66"/>
                <a:gd name="T15" fmla="*/ 21 h 80"/>
                <a:gd name="T16" fmla="*/ 38 w 66"/>
                <a:gd name="T17" fmla="*/ 27 h 80"/>
                <a:gd name="T18" fmla="*/ 44 w 66"/>
                <a:gd name="T19" fmla="*/ 36 h 80"/>
                <a:gd name="T20" fmla="*/ 49 w 66"/>
                <a:gd name="T21" fmla="*/ 45 h 80"/>
                <a:gd name="T22" fmla="*/ 56 w 66"/>
                <a:gd name="T23" fmla="*/ 52 h 80"/>
                <a:gd name="T24" fmla="*/ 61 w 66"/>
                <a:gd name="T25" fmla="*/ 60 h 80"/>
                <a:gd name="T26" fmla="*/ 62 w 66"/>
                <a:gd name="T27" fmla="*/ 65 h 80"/>
                <a:gd name="T28" fmla="*/ 65 w 66"/>
                <a:gd name="T29" fmla="*/ 69 h 80"/>
                <a:gd name="T30" fmla="*/ 66 w 66"/>
                <a:gd name="T31" fmla="*/ 75 h 80"/>
                <a:gd name="T32" fmla="*/ 66 w 66"/>
                <a:gd name="T33" fmla="*/ 80 h 80"/>
                <a:gd name="T34" fmla="*/ 0 w 66"/>
                <a:gd name="T35" fmla="*/ 18 h 80"/>
                <a:gd name="T36" fmla="*/ 0 w 66"/>
                <a:gd name="T3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4" name="Freeform 326"/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6477000" y="3684588"/>
              <a:ext cx="7938" cy="57150"/>
            </a:xfrm>
            <a:custGeom>
              <a:avLst/>
              <a:gdLst>
                <a:gd name="T0" fmla="*/ 20 w 20"/>
                <a:gd name="T1" fmla="*/ 48 h 48"/>
                <a:gd name="T2" fmla="*/ 20 w 20"/>
                <a:gd name="T3" fmla="*/ 39 h 48"/>
                <a:gd name="T4" fmla="*/ 19 w 20"/>
                <a:gd name="T5" fmla="*/ 32 h 48"/>
                <a:gd name="T6" fmla="*/ 16 w 20"/>
                <a:gd name="T7" fmla="*/ 25 h 48"/>
                <a:gd name="T8" fmla="*/ 14 w 20"/>
                <a:gd name="T9" fmla="*/ 19 h 48"/>
                <a:gd name="T10" fmla="*/ 12 w 20"/>
                <a:gd name="T11" fmla="*/ 14 h 48"/>
                <a:gd name="T12" fmla="*/ 9 w 20"/>
                <a:gd name="T13" fmla="*/ 9 h 48"/>
                <a:gd name="T14" fmla="*/ 4 w 20"/>
                <a:gd name="T15" fmla="*/ 4 h 48"/>
                <a:gd name="T16" fmla="*/ 0 w 20"/>
                <a:gd name="T17" fmla="*/ 0 h 48"/>
                <a:gd name="T18" fmla="*/ 0 w 20"/>
                <a:gd name="T19" fmla="*/ 8 h 48"/>
                <a:gd name="T20" fmla="*/ 2 w 20"/>
                <a:gd name="T21" fmla="*/ 17 h 48"/>
                <a:gd name="T22" fmla="*/ 4 w 20"/>
                <a:gd name="T23" fmla="*/ 24 h 48"/>
                <a:gd name="T24" fmla="*/ 8 w 20"/>
                <a:gd name="T25" fmla="*/ 31 h 48"/>
                <a:gd name="T26" fmla="*/ 14 w 20"/>
                <a:gd name="T27" fmla="*/ 41 h 48"/>
                <a:gd name="T28" fmla="*/ 20 w 20"/>
                <a:gd name="T2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5" name="Line 327" descr="Horizontal dunkel"/>
            <p:cNvSpPr>
              <a:spLocks noChangeShapeType="1"/>
            </p:cNvSpPr>
            <p:nvPr>
              <p:custDataLst>
                <p:tags r:id="rId229"/>
              </p:custDataLst>
            </p:nvPr>
          </p:nvSpPr>
          <p:spPr bwMode="auto">
            <a:xfrm>
              <a:off x="6502400" y="3721100"/>
              <a:ext cx="4763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6" name="Freeform 328"/>
            <p:cNvSpPr>
              <a:spLocks/>
            </p:cNvSpPr>
            <p:nvPr>
              <p:custDataLst>
                <p:tags r:id="rId230"/>
              </p:custDataLst>
            </p:nvPr>
          </p:nvSpPr>
          <p:spPr bwMode="auto">
            <a:xfrm>
              <a:off x="6499225" y="3721100"/>
              <a:ext cx="7938" cy="57150"/>
            </a:xfrm>
            <a:custGeom>
              <a:avLst/>
              <a:gdLst>
                <a:gd name="T0" fmla="*/ 20 w 20"/>
                <a:gd name="T1" fmla="*/ 12 h 12"/>
                <a:gd name="T2" fmla="*/ 20 w 20"/>
                <a:gd name="T3" fmla="*/ 8 h 12"/>
                <a:gd name="T4" fmla="*/ 18 w 20"/>
                <a:gd name="T5" fmla="*/ 5 h 12"/>
                <a:gd name="T6" fmla="*/ 15 w 20"/>
                <a:gd name="T7" fmla="*/ 3 h 12"/>
                <a:gd name="T8" fmla="*/ 13 w 20"/>
                <a:gd name="T9" fmla="*/ 2 h 12"/>
                <a:gd name="T10" fmla="*/ 7 w 20"/>
                <a:gd name="T11" fmla="*/ 0 h 12"/>
                <a:gd name="T12" fmla="*/ 0 w 20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7" name="Freeform 329"/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6400800" y="3565525"/>
              <a:ext cx="22225" cy="57150"/>
            </a:xfrm>
            <a:custGeom>
              <a:avLst/>
              <a:gdLst>
                <a:gd name="T0" fmla="*/ 7 w 53"/>
                <a:gd name="T1" fmla="*/ 0 h 30"/>
                <a:gd name="T2" fmla="*/ 11 w 53"/>
                <a:gd name="T3" fmla="*/ 4 h 30"/>
                <a:gd name="T4" fmla="*/ 23 w 53"/>
                <a:gd name="T5" fmla="*/ 13 h 30"/>
                <a:gd name="T6" fmla="*/ 37 w 53"/>
                <a:gd name="T7" fmla="*/ 23 h 30"/>
                <a:gd name="T8" fmla="*/ 46 w 53"/>
                <a:gd name="T9" fmla="*/ 30 h 30"/>
                <a:gd name="T10" fmla="*/ 49 w 53"/>
                <a:gd name="T11" fmla="*/ 18 h 30"/>
                <a:gd name="T12" fmla="*/ 53 w 53"/>
                <a:gd name="T13" fmla="*/ 6 h 30"/>
                <a:gd name="T14" fmla="*/ 37 w 53"/>
                <a:gd name="T15" fmla="*/ 5 h 30"/>
                <a:gd name="T16" fmla="*/ 26 w 53"/>
                <a:gd name="T17" fmla="*/ 3 h 30"/>
                <a:gd name="T18" fmla="*/ 21 w 53"/>
                <a:gd name="T19" fmla="*/ 3 h 30"/>
                <a:gd name="T20" fmla="*/ 15 w 53"/>
                <a:gd name="T21" fmla="*/ 3 h 30"/>
                <a:gd name="T22" fmla="*/ 9 w 53"/>
                <a:gd name="T23" fmla="*/ 4 h 30"/>
                <a:gd name="T24" fmla="*/ 0 w 53"/>
                <a:gd name="T25" fmla="*/ 6 h 30"/>
                <a:gd name="T26" fmla="*/ 7 w 53"/>
                <a:gd name="T2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8" name="Freeform 330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6929438" y="3929063"/>
              <a:ext cx="11112" cy="57150"/>
            </a:xfrm>
            <a:custGeom>
              <a:avLst/>
              <a:gdLst>
                <a:gd name="T0" fmla="*/ 0 w 33"/>
                <a:gd name="T1" fmla="*/ 6 h 31"/>
                <a:gd name="T2" fmla="*/ 4 w 33"/>
                <a:gd name="T3" fmla="*/ 21 h 31"/>
                <a:gd name="T4" fmla="*/ 7 w 33"/>
                <a:gd name="T5" fmla="*/ 31 h 31"/>
                <a:gd name="T6" fmla="*/ 22 w 33"/>
                <a:gd name="T7" fmla="*/ 31 h 31"/>
                <a:gd name="T8" fmla="*/ 33 w 33"/>
                <a:gd name="T9" fmla="*/ 31 h 31"/>
                <a:gd name="T10" fmla="*/ 33 w 33"/>
                <a:gd name="T11" fmla="*/ 0 h 31"/>
                <a:gd name="T12" fmla="*/ 27 w 33"/>
                <a:gd name="T13" fmla="*/ 0 h 31"/>
                <a:gd name="T14" fmla="*/ 19 w 33"/>
                <a:gd name="T15" fmla="*/ 0 h 31"/>
                <a:gd name="T16" fmla="*/ 10 w 33"/>
                <a:gd name="T17" fmla="*/ 0 h 31"/>
                <a:gd name="T18" fmla="*/ 0 w 33"/>
                <a:gd name="T19" fmla="*/ 0 h 31"/>
                <a:gd name="T20" fmla="*/ 0 w 33"/>
                <a:gd name="T21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A5D7D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9" name="Freeform 331"/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7445375" y="3886200"/>
              <a:ext cx="28575" cy="55563"/>
            </a:xfrm>
            <a:custGeom>
              <a:avLst/>
              <a:gdLst>
                <a:gd name="T0" fmla="*/ 19 w 65"/>
                <a:gd name="T1" fmla="*/ 68 h 68"/>
                <a:gd name="T2" fmla="*/ 16 w 65"/>
                <a:gd name="T3" fmla="*/ 68 h 68"/>
                <a:gd name="T4" fmla="*/ 14 w 65"/>
                <a:gd name="T5" fmla="*/ 66 h 68"/>
                <a:gd name="T6" fmla="*/ 11 w 65"/>
                <a:gd name="T7" fmla="*/ 64 h 68"/>
                <a:gd name="T8" fmla="*/ 7 w 65"/>
                <a:gd name="T9" fmla="*/ 61 h 68"/>
                <a:gd name="T10" fmla="*/ 4 w 65"/>
                <a:gd name="T11" fmla="*/ 59 h 68"/>
                <a:gd name="T12" fmla="*/ 2 w 65"/>
                <a:gd name="T13" fmla="*/ 55 h 68"/>
                <a:gd name="T14" fmla="*/ 0 w 65"/>
                <a:gd name="T15" fmla="*/ 52 h 68"/>
                <a:gd name="T16" fmla="*/ 0 w 65"/>
                <a:gd name="T17" fmla="*/ 49 h 68"/>
                <a:gd name="T18" fmla="*/ 0 w 65"/>
                <a:gd name="T19" fmla="*/ 38 h 68"/>
                <a:gd name="T20" fmla="*/ 2 w 65"/>
                <a:gd name="T21" fmla="*/ 29 h 68"/>
                <a:gd name="T22" fmla="*/ 5 w 65"/>
                <a:gd name="T23" fmla="*/ 21 h 68"/>
                <a:gd name="T24" fmla="*/ 9 w 65"/>
                <a:gd name="T25" fmla="*/ 14 h 68"/>
                <a:gd name="T26" fmla="*/ 15 w 65"/>
                <a:gd name="T27" fmla="*/ 8 h 68"/>
                <a:gd name="T28" fmla="*/ 22 w 65"/>
                <a:gd name="T29" fmla="*/ 4 h 68"/>
                <a:gd name="T30" fmla="*/ 30 w 65"/>
                <a:gd name="T31" fmla="*/ 2 h 68"/>
                <a:gd name="T32" fmla="*/ 39 w 65"/>
                <a:gd name="T33" fmla="*/ 0 h 68"/>
                <a:gd name="T34" fmla="*/ 52 w 65"/>
                <a:gd name="T35" fmla="*/ 0 h 68"/>
                <a:gd name="T36" fmla="*/ 65 w 65"/>
                <a:gd name="T37" fmla="*/ 0 h 68"/>
                <a:gd name="T38" fmla="*/ 65 w 65"/>
                <a:gd name="T39" fmla="*/ 43 h 68"/>
                <a:gd name="T40" fmla="*/ 56 w 65"/>
                <a:gd name="T41" fmla="*/ 52 h 68"/>
                <a:gd name="T42" fmla="*/ 45 w 65"/>
                <a:gd name="T43" fmla="*/ 61 h 68"/>
                <a:gd name="T44" fmla="*/ 39 w 65"/>
                <a:gd name="T45" fmla="*/ 64 h 68"/>
                <a:gd name="T46" fmla="*/ 34 w 65"/>
                <a:gd name="T47" fmla="*/ 66 h 68"/>
                <a:gd name="T48" fmla="*/ 27 w 65"/>
                <a:gd name="T49" fmla="*/ 68 h 68"/>
                <a:gd name="T50" fmla="*/ 19 w 65"/>
                <a:gd name="T51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0" name="Freeform 332"/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6383338" y="3468688"/>
              <a:ext cx="274637" cy="368300"/>
            </a:xfrm>
            <a:custGeom>
              <a:avLst/>
              <a:gdLst>
                <a:gd name="T0" fmla="*/ 502 w 625"/>
                <a:gd name="T1" fmla="*/ 337 h 694"/>
                <a:gd name="T2" fmla="*/ 484 w 625"/>
                <a:gd name="T3" fmla="*/ 341 h 694"/>
                <a:gd name="T4" fmla="*/ 479 w 625"/>
                <a:gd name="T5" fmla="*/ 382 h 694"/>
                <a:gd name="T6" fmla="*/ 515 w 625"/>
                <a:gd name="T7" fmla="*/ 404 h 694"/>
                <a:gd name="T8" fmla="*/ 534 w 625"/>
                <a:gd name="T9" fmla="*/ 405 h 694"/>
                <a:gd name="T10" fmla="*/ 550 w 625"/>
                <a:gd name="T11" fmla="*/ 424 h 694"/>
                <a:gd name="T12" fmla="*/ 560 w 625"/>
                <a:gd name="T13" fmla="*/ 459 h 694"/>
                <a:gd name="T14" fmla="*/ 572 w 625"/>
                <a:gd name="T15" fmla="*/ 474 h 694"/>
                <a:gd name="T16" fmla="*/ 588 w 625"/>
                <a:gd name="T17" fmla="*/ 483 h 694"/>
                <a:gd name="T18" fmla="*/ 614 w 625"/>
                <a:gd name="T19" fmla="*/ 487 h 694"/>
                <a:gd name="T20" fmla="*/ 625 w 625"/>
                <a:gd name="T21" fmla="*/ 505 h 694"/>
                <a:gd name="T22" fmla="*/ 625 w 625"/>
                <a:gd name="T23" fmla="*/ 539 h 694"/>
                <a:gd name="T24" fmla="*/ 618 w 625"/>
                <a:gd name="T25" fmla="*/ 603 h 694"/>
                <a:gd name="T26" fmla="*/ 611 w 625"/>
                <a:gd name="T27" fmla="*/ 672 h 694"/>
                <a:gd name="T28" fmla="*/ 562 w 625"/>
                <a:gd name="T29" fmla="*/ 693 h 694"/>
                <a:gd name="T30" fmla="*/ 539 w 625"/>
                <a:gd name="T31" fmla="*/ 693 h 694"/>
                <a:gd name="T32" fmla="*/ 394 w 625"/>
                <a:gd name="T33" fmla="*/ 564 h 694"/>
                <a:gd name="T34" fmla="*/ 397 w 625"/>
                <a:gd name="T35" fmla="*/ 552 h 694"/>
                <a:gd name="T36" fmla="*/ 394 w 625"/>
                <a:gd name="T37" fmla="*/ 539 h 694"/>
                <a:gd name="T38" fmla="*/ 338 w 625"/>
                <a:gd name="T39" fmla="*/ 488 h 694"/>
                <a:gd name="T40" fmla="*/ 305 w 625"/>
                <a:gd name="T41" fmla="*/ 453 h 694"/>
                <a:gd name="T42" fmla="*/ 293 w 625"/>
                <a:gd name="T43" fmla="*/ 419 h 694"/>
                <a:gd name="T44" fmla="*/ 291 w 625"/>
                <a:gd name="T45" fmla="*/ 381 h 694"/>
                <a:gd name="T46" fmla="*/ 285 w 625"/>
                <a:gd name="T47" fmla="*/ 360 h 694"/>
                <a:gd name="T48" fmla="*/ 268 w 625"/>
                <a:gd name="T49" fmla="*/ 342 h 694"/>
                <a:gd name="T50" fmla="*/ 241 w 625"/>
                <a:gd name="T51" fmla="*/ 310 h 694"/>
                <a:gd name="T52" fmla="*/ 224 w 625"/>
                <a:gd name="T53" fmla="*/ 269 h 694"/>
                <a:gd name="T54" fmla="*/ 213 w 625"/>
                <a:gd name="T55" fmla="*/ 238 h 694"/>
                <a:gd name="T56" fmla="*/ 190 w 625"/>
                <a:gd name="T57" fmla="*/ 212 h 694"/>
                <a:gd name="T58" fmla="*/ 150 w 625"/>
                <a:gd name="T59" fmla="*/ 171 h 694"/>
                <a:gd name="T60" fmla="*/ 136 w 625"/>
                <a:gd name="T61" fmla="*/ 146 h 694"/>
                <a:gd name="T62" fmla="*/ 112 w 625"/>
                <a:gd name="T63" fmla="*/ 132 h 694"/>
                <a:gd name="T64" fmla="*/ 80 w 625"/>
                <a:gd name="T65" fmla="*/ 113 h 694"/>
                <a:gd name="T66" fmla="*/ 49 w 625"/>
                <a:gd name="T67" fmla="*/ 85 h 694"/>
                <a:gd name="T68" fmla="*/ 23 w 625"/>
                <a:gd name="T69" fmla="*/ 51 h 694"/>
                <a:gd name="T70" fmla="*/ 5 w 625"/>
                <a:gd name="T71" fmla="*/ 19 h 694"/>
                <a:gd name="T72" fmla="*/ 10 w 625"/>
                <a:gd name="T73" fmla="*/ 4 h 694"/>
                <a:gd name="T74" fmla="*/ 37 w 625"/>
                <a:gd name="T75" fmla="*/ 13 h 694"/>
                <a:gd name="T76" fmla="*/ 84 w 625"/>
                <a:gd name="T77" fmla="*/ 16 h 694"/>
                <a:gd name="T78" fmla="*/ 116 w 625"/>
                <a:gd name="T79" fmla="*/ 20 h 694"/>
                <a:gd name="T80" fmla="*/ 138 w 625"/>
                <a:gd name="T81" fmla="*/ 27 h 694"/>
                <a:gd name="T82" fmla="*/ 156 w 625"/>
                <a:gd name="T83" fmla="*/ 42 h 694"/>
                <a:gd name="T84" fmla="*/ 204 w 625"/>
                <a:gd name="T85" fmla="*/ 109 h 694"/>
                <a:gd name="T86" fmla="*/ 254 w 625"/>
                <a:gd name="T87" fmla="*/ 163 h 694"/>
                <a:gd name="T88" fmla="*/ 299 w 625"/>
                <a:gd name="T89" fmla="*/ 202 h 694"/>
                <a:gd name="T90" fmla="*/ 329 w 625"/>
                <a:gd name="T91" fmla="*/ 219 h 694"/>
                <a:gd name="T92" fmla="*/ 366 w 625"/>
                <a:gd name="T93" fmla="*/ 227 h 694"/>
                <a:gd name="T94" fmla="*/ 388 w 625"/>
                <a:gd name="T95" fmla="*/ 230 h 694"/>
                <a:gd name="T96" fmla="*/ 401 w 625"/>
                <a:gd name="T97" fmla="*/ 241 h 694"/>
                <a:gd name="T98" fmla="*/ 416 w 625"/>
                <a:gd name="T99" fmla="*/ 260 h 694"/>
                <a:gd name="T100" fmla="*/ 427 w 625"/>
                <a:gd name="T101" fmla="*/ 265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1" name="Freeform 334"/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7080250" y="3924300"/>
              <a:ext cx="92075" cy="57150"/>
            </a:xfrm>
            <a:custGeom>
              <a:avLst/>
              <a:gdLst>
                <a:gd name="T0" fmla="*/ 0 w 212"/>
                <a:gd name="T1" fmla="*/ 105 h 105"/>
                <a:gd name="T2" fmla="*/ 16 w 212"/>
                <a:gd name="T3" fmla="*/ 85 h 105"/>
                <a:gd name="T4" fmla="*/ 35 w 212"/>
                <a:gd name="T5" fmla="*/ 68 h 105"/>
                <a:gd name="T6" fmla="*/ 44 w 212"/>
                <a:gd name="T7" fmla="*/ 60 h 105"/>
                <a:gd name="T8" fmla="*/ 54 w 212"/>
                <a:gd name="T9" fmla="*/ 53 h 105"/>
                <a:gd name="T10" fmla="*/ 64 w 212"/>
                <a:gd name="T11" fmla="*/ 46 h 105"/>
                <a:gd name="T12" fmla="*/ 73 w 212"/>
                <a:gd name="T13" fmla="*/ 38 h 105"/>
                <a:gd name="T14" fmla="*/ 83 w 212"/>
                <a:gd name="T15" fmla="*/ 32 h 105"/>
                <a:gd name="T16" fmla="*/ 94 w 212"/>
                <a:gd name="T17" fmla="*/ 27 h 105"/>
                <a:gd name="T18" fmla="*/ 106 w 212"/>
                <a:gd name="T19" fmla="*/ 21 h 105"/>
                <a:gd name="T20" fmla="*/ 118 w 212"/>
                <a:gd name="T21" fmla="*/ 16 h 105"/>
                <a:gd name="T22" fmla="*/ 144 w 212"/>
                <a:gd name="T23" fmla="*/ 8 h 105"/>
                <a:gd name="T24" fmla="*/ 172 w 212"/>
                <a:gd name="T25" fmla="*/ 0 h 105"/>
                <a:gd name="T26" fmla="*/ 212 w 212"/>
                <a:gd name="T27" fmla="*/ 0 h 105"/>
                <a:gd name="T28" fmla="*/ 202 w 212"/>
                <a:gd name="T29" fmla="*/ 9 h 105"/>
                <a:gd name="T30" fmla="*/ 190 w 212"/>
                <a:gd name="T31" fmla="*/ 18 h 105"/>
                <a:gd name="T32" fmla="*/ 178 w 212"/>
                <a:gd name="T33" fmla="*/ 27 h 105"/>
                <a:gd name="T34" fmla="*/ 165 w 212"/>
                <a:gd name="T35" fmla="*/ 35 h 105"/>
                <a:gd name="T36" fmla="*/ 137 w 212"/>
                <a:gd name="T37" fmla="*/ 52 h 105"/>
                <a:gd name="T38" fmla="*/ 109 w 212"/>
                <a:gd name="T39" fmla="*/ 66 h 105"/>
                <a:gd name="T40" fmla="*/ 79 w 212"/>
                <a:gd name="T41" fmla="*/ 79 h 105"/>
                <a:gd name="T42" fmla="*/ 50 w 212"/>
                <a:gd name="T43" fmla="*/ 90 h 105"/>
                <a:gd name="T44" fmla="*/ 23 w 212"/>
                <a:gd name="T45" fmla="*/ 99 h 105"/>
                <a:gd name="T46" fmla="*/ 0 w 212"/>
                <a:gd name="T47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2" name="Freeform 335"/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7196138" y="3590925"/>
              <a:ext cx="42862" cy="88900"/>
            </a:xfrm>
            <a:custGeom>
              <a:avLst/>
              <a:gdLst>
                <a:gd name="T0" fmla="*/ 0 w 92"/>
                <a:gd name="T1" fmla="*/ 81 h 166"/>
                <a:gd name="T2" fmla="*/ 0 w 92"/>
                <a:gd name="T3" fmla="*/ 148 h 166"/>
                <a:gd name="T4" fmla="*/ 5 w 92"/>
                <a:gd name="T5" fmla="*/ 144 h 166"/>
                <a:gd name="T6" fmla="*/ 12 w 92"/>
                <a:gd name="T7" fmla="*/ 139 h 166"/>
                <a:gd name="T8" fmla="*/ 14 w 92"/>
                <a:gd name="T9" fmla="*/ 137 h 166"/>
                <a:gd name="T10" fmla="*/ 17 w 92"/>
                <a:gd name="T11" fmla="*/ 135 h 166"/>
                <a:gd name="T12" fmla="*/ 18 w 92"/>
                <a:gd name="T13" fmla="*/ 132 h 166"/>
                <a:gd name="T14" fmla="*/ 19 w 92"/>
                <a:gd name="T15" fmla="*/ 130 h 166"/>
                <a:gd name="T16" fmla="*/ 20 w 92"/>
                <a:gd name="T17" fmla="*/ 138 h 166"/>
                <a:gd name="T18" fmla="*/ 24 w 92"/>
                <a:gd name="T19" fmla="*/ 148 h 166"/>
                <a:gd name="T20" fmla="*/ 27 w 92"/>
                <a:gd name="T21" fmla="*/ 154 h 166"/>
                <a:gd name="T22" fmla="*/ 30 w 92"/>
                <a:gd name="T23" fmla="*/ 159 h 166"/>
                <a:gd name="T24" fmla="*/ 35 w 92"/>
                <a:gd name="T25" fmla="*/ 163 h 166"/>
                <a:gd name="T26" fmla="*/ 39 w 92"/>
                <a:gd name="T27" fmla="*/ 166 h 166"/>
                <a:gd name="T28" fmla="*/ 41 w 92"/>
                <a:gd name="T29" fmla="*/ 158 h 166"/>
                <a:gd name="T30" fmla="*/ 41 w 92"/>
                <a:gd name="T31" fmla="*/ 148 h 166"/>
                <a:gd name="T32" fmla="*/ 41 w 92"/>
                <a:gd name="T33" fmla="*/ 137 h 166"/>
                <a:gd name="T34" fmla="*/ 41 w 92"/>
                <a:gd name="T35" fmla="*/ 126 h 166"/>
                <a:gd name="T36" fmla="*/ 40 w 92"/>
                <a:gd name="T37" fmla="*/ 107 h 166"/>
                <a:gd name="T38" fmla="*/ 39 w 92"/>
                <a:gd name="T39" fmla="*/ 99 h 166"/>
                <a:gd name="T40" fmla="*/ 48 w 92"/>
                <a:gd name="T41" fmla="*/ 100 h 166"/>
                <a:gd name="T42" fmla="*/ 57 w 92"/>
                <a:gd name="T43" fmla="*/ 102 h 166"/>
                <a:gd name="T44" fmla="*/ 64 w 92"/>
                <a:gd name="T45" fmla="*/ 105 h 166"/>
                <a:gd name="T46" fmla="*/ 71 w 92"/>
                <a:gd name="T47" fmla="*/ 108 h 166"/>
                <a:gd name="T48" fmla="*/ 76 w 92"/>
                <a:gd name="T49" fmla="*/ 111 h 166"/>
                <a:gd name="T50" fmla="*/ 82 w 92"/>
                <a:gd name="T51" fmla="*/ 114 h 166"/>
                <a:gd name="T52" fmla="*/ 87 w 92"/>
                <a:gd name="T53" fmla="*/ 116 h 166"/>
                <a:gd name="T54" fmla="*/ 92 w 92"/>
                <a:gd name="T55" fmla="*/ 118 h 166"/>
                <a:gd name="T56" fmla="*/ 85 w 92"/>
                <a:gd name="T57" fmla="*/ 103 h 166"/>
                <a:gd name="T58" fmla="*/ 81 w 92"/>
                <a:gd name="T59" fmla="*/ 89 h 166"/>
                <a:gd name="T60" fmla="*/ 76 w 92"/>
                <a:gd name="T61" fmla="*/ 75 h 166"/>
                <a:gd name="T62" fmla="*/ 73 w 92"/>
                <a:gd name="T63" fmla="*/ 60 h 166"/>
                <a:gd name="T64" fmla="*/ 70 w 92"/>
                <a:gd name="T65" fmla="*/ 47 h 166"/>
                <a:gd name="T66" fmla="*/ 67 w 92"/>
                <a:gd name="T67" fmla="*/ 34 h 166"/>
                <a:gd name="T68" fmla="*/ 63 w 92"/>
                <a:gd name="T69" fmla="*/ 23 h 166"/>
                <a:gd name="T70" fmla="*/ 59 w 92"/>
                <a:gd name="T71" fmla="*/ 13 h 166"/>
                <a:gd name="T72" fmla="*/ 59 w 92"/>
                <a:gd name="T73" fmla="*/ 19 h 166"/>
                <a:gd name="T74" fmla="*/ 59 w 92"/>
                <a:gd name="T75" fmla="*/ 25 h 166"/>
                <a:gd name="T76" fmla="*/ 50 w 92"/>
                <a:gd name="T77" fmla="*/ 23 h 166"/>
                <a:gd name="T78" fmla="*/ 42 w 92"/>
                <a:gd name="T79" fmla="*/ 19 h 166"/>
                <a:gd name="T80" fmla="*/ 35 w 92"/>
                <a:gd name="T81" fmla="*/ 15 h 166"/>
                <a:gd name="T82" fmla="*/ 29 w 92"/>
                <a:gd name="T83" fmla="*/ 11 h 166"/>
                <a:gd name="T84" fmla="*/ 23 w 92"/>
                <a:gd name="T85" fmla="*/ 7 h 166"/>
                <a:gd name="T86" fmla="*/ 16 w 92"/>
                <a:gd name="T87" fmla="*/ 3 h 166"/>
                <a:gd name="T88" fmla="*/ 8 w 92"/>
                <a:gd name="T89" fmla="*/ 1 h 166"/>
                <a:gd name="T90" fmla="*/ 0 w 92"/>
                <a:gd name="T91" fmla="*/ 0 h 166"/>
                <a:gd name="T92" fmla="*/ 0 w 92"/>
                <a:gd name="T93" fmla="*/ 10 h 166"/>
                <a:gd name="T94" fmla="*/ 0 w 92"/>
                <a:gd name="T95" fmla="*/ 19 h 166"/>
                <a:gd name="T96" fmla="*/ 0 w 92"/>
                <a:gd name="T97" fmla="*/ 33 h 166"/>
                <a:gd name="T98" fmla="*/ 0 w 92"/>
                <a:gd name="T99" fmla="*/ 52 h 166"/>
                <a:gd name="T100" fmla="*/ 0 w 92"/>
                <a:gd name="T101" fmla="*/ 70 h 166"/>
                <a:gd name="T102" fmla="*/ 0 w 92"/>
                <a:gd name="T103" fmla="*/ 81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3" name="Freeform 336"/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7208838" y="3735388"/>
              <a:ext cx="71437" cy="55562"/>
            </a:xfrm>
            <a:custGeom>
              <a:avLst/>
              <a:gdLst>
                <a:gd name="T0" fmla="*/ 7 w 166"/>
                <a:gd name="T1" fmla="*/ 0 h 62"/>
                <a:gd name="T2" fmla="*/ 14 w 166"/>
                <a:gd name="T3" fmla="*/ 3 h 62"/>
                <a:gd name="T4" fmla="*/ 22 w 166"/>
                <a:gd name="T5" fmla="*/ 6 h 62"/>
                <a:gd name="T6" fmla="*/ 30 w 166"/>
                <a:gd name="T7" fmla="*/ 7 h 62"/>
                <a:gd name="T8" fmla="*/ 36 w 166"/>
                <a:gd name="T9" fmla="*/ 8 h 62"/>
                <a:gd name="T10" fmla="*/ 48 w 166"/>
                <a:gd name="T11" fmla="*/ 8 h 62"/>
                <a:gd name="T12" fmla="*/ 58 w 166"/>
                <a:gd name="T13" fmla="*/ 7 h 62"/>
                <a:gd name="T14" fmla="*/ 69 w 166"/>
                <a:gd name="T15" fmla="*/ 5 h 62"/>
                <a:gd name="T16" fmla="*/ 80 w 166"/>
                <a:gd name="T17" fmla="*/ 3 h 62"/>
                <a:gd name="T18" fmla="*/ 92 w 166"/>
                <a:gd name="T19" fmla="*/ 1 h 62"/>
                <a:gd name="T20" fmla="*/ 106 w 166"/>
                <a:gd name="T21" fmla="*/ 0 h 62"/>
                <a:gd name="T22" fmla="*/ 111 w 166"/>
                <a:gd name="T23" fmla="*/ 1 h 62"/>
                <a:gd name="T24" fmla="*/ 115 w 166"/>
                <a:gd name="T25" fmla="*/ 2 h 62"/>
                <a:gd name="T26" fmla="*/ 120 w 166"/>
                <a:gd name="T27" fmla="*/ 5 h 62"/>
                <a:gd name="T28" fmla="*/ 124 w 166"/>
                <a:gd name="T29" fmla="*/ 8 h 62"/>
                <a:gd name="T30" fmla="*/ 132 w 166"/>
                <a:gd name="T31" fmla="*/ 17 h 62"/>
                <a:gd name="T32" fmla="*/ 138 w 166"/>
                <a:gd name="T33" fmla="*/ 26 h 62"/>
                <a:gd name="T34" fmla="*/ 145 w 166"/>
                <a:gd name="T35" fmla="*/ 36 h 62"/>
                <a:gd name="T36" fmla="*/ 151 w 166"/>
                <a:gd name="T37" fmla="*/ 45 h 62"/>
                <a:gd name="T38" fmla="*/ 155 w 166"/>
                <a:gd name="T39" fmla="*/ 49 h 62"/>
                <a:gd name="T40" fmla="*/ 158 w 166"/>
                <a:gd name="T41" fmla="*/ 52 h 62"/>
                <a:gd name="T42" fmla="*/ 162 w 166"/>
                <a:gd name="T43" fmla="*/ 54 h 62"/>
                <a:gd name="T44" fmla="*/ 166 w 166"/>
                <a:gd name="T45" fmla="*/ 56 h 62"/>
                <a:gd name="T46" fmla="*/ 159 w 166"/>
                <a:gd name="T47" fmla="*/ 57 h 62"/>
                <a:gd name="T48" fmla="*/ 151 w 166"/>
                <a:gd name="T49" fmla="*/ 59 h 62"/>
                <a:gd name="T50" fmla="*/ 143 w 166"/>
                <a:gd name="T51" fmla="*/ 61 h 62"/>
                <a:gd name="T52" fmla="*/ 133 w 166"/>
                <a:gd name="T53" fmla="*/ 62 h 62"/>
                <a:gd name="T54" fmla="*/ 125 w 166"/>
                <a:gd name="T55" fmla="*/ 61 h 62"/>
                <a:gd name="T56" fmla="*/ 119 w 166"/>
                <a:gd name="T57" fmla="*/ 58 h 62"/>
                <a:gd name="T58" fmla="*/ 112 w 166"/>
                <a:gd name="T59" fmla="*/ 54 h 62"/>
                <a:gd name="T60" fmla="*/ 106 w 166"/>
                <a:gd name="T61" fmla="*/ 50 h 62"/>
                <a:gd name="T62" fmla="*/ 100 w 166"/>
                <a:gd name="T63" fmla="*/ 45 h 62"/>
                <a:gd name="T64" fmla="*/ 93 w 166"/>
                <a:gd name="T65" fmla="*/ 41 h 62"/>
                <a:gd name="T66" fmla="*/ 87 w 166"/>
                <a:gd name="T67" fmla="*/ 39 h 62"/>
                <a:gd name="T68" fmla="*/ 79 w 166"/>
                <a:gd name="T69" fmla="*/ 38 h 62"/>
                <a:gd name="T70" fmla="*/ 56 w 166"/>
                <a:gd name="T71" fmla="*/ 38 h 62"/>
                <a:gd name="T72" fmla="*/ 35 w 166"/>
                <a:gd name="T73" fmla="*/ 39 h 62"/>
                <a:gd name="T74" fmla="*/ 26 w 166"/>
                <a:gd name="T75" fmla="*/ 41 h 62"/>
                <a:gd name="T76" fmla="*/ 19 w 166"/>
                <a:gd name="T77" fmla="*/ 43 h 62"/>
                <a:gd name="T78" fmla="*/ 12 w 166"/>
                <a:gd name="T79" fmla="*/ 46 h 62"/>
                <a:gd name="T80" fmla="*/ 7 w 166"/>
                <a:gd name="T81" fmla="*/ 50 h 62"/>
                <a:gd name="T82" fmla="*/ 2 w 166"/>
                <a:gd name="T83" fmla="*/ 45 h 62"/>
                <a:gd name="T84" fmla="*/ 1 w 166"/>
                <a:gd name="T85" fmla="*/ 40 h 62"/>
                <a:gd name="T86" fmla="*/ 0 w 166"/>
                <a:gd name="T87" fmla="*/ 34 h 62"/>
                <a:gd name="T88" fmla="*/ 1 w 166"/>
                <a:gd name="T89" fmla="*/ 28 h 62"/>
                <a:gd name="T90" fmla="*/ 4 w 166"/>
                <a:gd name="T91" fmla="*/ 15 h 62"/>
                <a:gd name="T92" fmla="*/ 7 w 166"/>
                <a:gd name="T9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4" name="Freeform 337"/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7285038" y="3659188"/>
              <a:ext cx="85725" cy="63500"/>
            </a:xfrm>
            <a:custGeom>
              <a:avLst/>
              <a:gdLst>
                <a:gd name="T0" fmla="*/ 33 w 193"/>
                <a:gd name="T1" fmla="*/ 35 h 121"/>
                <a:gd name="T2" fmla="*/ 48 w 193"/>
                <a:gd name="T3" fmla="*/ 25 h 121"/>
                <a:gd name="T4" fmla="*/ 68 w 193"/>
                <a:gd name="T5" fmla="*/ 12 h 121"/>
                <a:gd name="T6" fmla="*/ 84 w 193"/>
                <a:gd name="T7" fmla="*/ 4 h 121"/>
                <a:gd name="T8" fmla="*/ 94 w 193"/>
                <a:gd name="T9" fmla="*/ 1 h 121"/>
                <a:gd name="T10" fmla="*/ 105 w 193"/>
                <a:gd name="T11" fmla="*/ 1 h 121"/>
                <a:gd name="T12" fmla="*/ 116 w 193"/>
                <a:gd name="T13" fmla="*/ 3 h 121"/>
                <a:gd name="T14" fmla="*/ 131 w 193"/>
                <a:gd name="T15" fmla="*/ 10 h 121"/>
                <a:gd name="T16" fmla="*/ 148 w 193"/>
                <a:gd name="T17" fmla="*/ 21 h 121"/>
                <a:gd name="T18" fmla="*/ 162 w 193"/>
                <a:gd name="T19" fmla="*/ 28 h 121"/>
                <a:gd name="T20" fmla="*/ 173 w 193"/>
                <a:gd name="T21" fmla="*/ 30 h 121"/>
                <a:gd name="T22" fmla="*/ 179 w 193"/>
                <a:gd name="T23" fmla="*/ 48 h 121"/>
                <a:gd name="T24" fmla="*/ 178 w 193"/>
                <a:gd name="T25" fmla="*/ 66 h 121"/>
                <a:gd name="T26" fmla="*/ 182 w 193"/>
                <a:gd name="T27" fmla="*/ 75 h 121"/>
                <a:gd name="T28" fmla="*/ 187 w 193"/>
                <a:gd name="T29" fmla="*/ 89 h 121"/>
                <a:gd name="T30" fmla="*/ 188 w 193"/>
                <a:gd name="T31" fmla="*/ 102 h 121"/>
                <a:gd name="T32" fmla="*/ 191 w 193"/>
                <a:gd name="T33" fmla="*/ 109 h 121"/>
                <a:gd name="T34" fmla="*/ 188 w 193"/>
                <a:gd name="T35" fmla="*/ 114 h 121"/>
                <a:gd name="T36" fmla="*/ 177 w 193"/>
                <a:gd name="T37" fmla="*/ 118 h 121"/>
                <a:gd name="T38" fmla="*/ 159 w 193"/>
                <a:gd name="T39" fmla="*/ 121 h 121"/>
                <a:gd name="T40" fmla="*/ 116 w 193"/>
                <a:gd name="T41" fmla="*/ 119 h 121"/>
                <a:gd name="T42" fmla="*/ 72 w 193"/>
                <a:gd name="T43" fmla="*/ 116 h 121"/>
                <a:gd name="T44" fmla="*/ 63 w 193"/>
                <a:gd name="T45" fmla="*/ 110 h 121"/>
                <a:gd name="T46" fmla="*/ 56 w 193"/>
                <a:gd name="T47" fmla="*/ 100 h 121"/>
                <a:gd name="T48" fmla="*/ 54 w 193"/>
                <a:gd name="T49" fmla="*/ 87 h 121"/>
                <a:gd name="T50" fmla="*/ 47 w 193"/>
                <a:gd name="T51" fmla="*/ 79 h 121"/>
                <a:gd name="T52" fmla="*/ 31 w 193"/>
                <a:gd name="T53" fmla="*/ 75 h 121"/>
                <a:gd name="T54" fmla="*/ 13 w 193"/>
                <a:gd name="T55" fmla="*/ 69 h 121"/>
                <a:gd name="T56" fmla="*/ 3 w 193"/>
                <a:gd name="T57" fmla="*/ 62 h 121"/>
                <a:gd name="T58" fmla="*/ 0 w 193"/>
                <a:gd name="T59" fmla="*/ 58 h 121"/>
                <a:gd name="T60" fmla="*/ 1 w 193"/>
                <a:gd name="T61" fmla="*/ 51 h 121"/>
                <a:gd name="T62" fmla="*/ 7 w 193"/>
                <a:gd name="T63" fmla="*/ 45 h 121"/>
                <a:gd name="T64" fmla="*/ 20 w 193"/>
                <a:gd name="T65" fmla="*/ 38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rgbClr val="A5D7D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5" name="Freeform 338"/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6973888" y="3597275"/>
              <a:ext cx="166687" cy="230188"/>
            </a:xfrm>
            <a:custGeom>
              <a:avLst/>
              <a:gdLst>
                <a:gd name="T0" fmla="*/ 37 w 379"/>
                <a:gd name="T1" fmla="*/ 419 h 437"/>
                <a:gd name="T2" fmla="*/ 46 w 379"/>
                <a:gd name="T3" fmla="*/ 407 h 437"/>
                <a:gd name="T4" fmla="*/ 24 w 379"/>
                <a:gd name="T5" fmla="*/ 311 h 437"/>
                <a:gd name="T6" fmla="*/ 2 w 379"/>
                <a:gd name="T7" fmla="*/ 294 h 437"/>
                <a:gd name="T8" fmla="*/ 15 w 379"/>
                <a:gd name="T9" fmla="*/ 270 h 437"/>
                <a:gd name="T10" fmla="*/ 31 w 379"/>
                <a:gd name="T11" fmla="*/ 221 h 437"/>
                <a:gd name="T12" fmla="*/ 39 w 379"/>
                <a:gd name="T13" fmla="*/ 172 h 437"/>
                <a:gd name="T14" fmla="*/ 57 w 379"/>
                <a:gd name="T15" fmla="*/ 159 h 437"/>
                <a:gd name="T16" fmla="*/ 65 w 379"/>
                <a:gd name="T17" fmla="*/ 130 h 437"/>
                <a:gd name="T18" fmla="*/ 76 w 379"/>
                <a:gd name="T19" fmla="*/ 78 h 437"/>
                <a:gd name="T20" fmla="*/ 90 w 379"/>
                <a:gd name="T21" fmla="*/ 51 h 437"/>
                <a:gd name="T22" fmla="*/ 115 w 379"/>
                <a:gd name="T23" fmla="*/ 31 h 437"/>
                <a:gd name="T24" fmla="*/ 153 w 379"/>
                <a:gd name="T25" fmla="*/ 25 h 437"/>
                <a:gd name="T26" fmla="*/ 217 w 379"/>
                <a:gd name="T27" fmla="*/ 38 h 437"/>
                <a:gd name="T28" fmla="*/ 262 w 379"/>
                <a:gd name="T29" fmla="*/ 48 h 437"/>
                <a:gd name="T30" fmla="*/ 303 w 379"/>
                <a:gd name="T31" fmla="*/ 45 h 437"/>
                <a:gd name="T32" fmla="*/ 329 w 379"/>
                <a:gd name="T33" fmla="*/ 31 h 437"/>
                <a:gd name="T34" fmla="*/ 356 w 379"/>
                <a:gd name="T35" fmla="*/ 7 h 437"/>
                <a:gd name="T36" fmla="*/ 374 w 379"/>
                <a:gd name="T37" fmla="*/ 9 h 437"/>
                <a:gd name="T38" fmla="*/ 372 w 379"/>
                <a:gd name="T39" fmla="*/ 35 h 437"/>
                <a:gd name="T40" fmla="*/ 329 w 379"/>
                <a:gd name="T41" fmla="*/ 80 h 437"/>
                <a:gd name="T42" fmla="*/ 292 w 379"/>
                <a:gd name="T43" fmla="*/ 97 h 437"/>
                <a:gd name="T44" fmla="*/ 271 w 379"/>
                <a:gd name="T45" fmla="*/ 94 h 437"/>
                <a:gd name="T46" fmla="*/ 238 w 379"/>
                <a:gd name="T47" fmla="*/ 69 h 437"/>
                <a:gd name="T48" fmla="*/ 212 w 379"/>
                <a:gd name="T49" fmla="*/ 56 h 437"/>
                <a:gd name="T50" fmla="*/ 177 w 379"/>
                <a:gd name="T51" fmla="*/ 56 h 437"/>
                <a:gd name="T52" fmla="*/ 138 w 379"/>
                <a:gd name="T53" fmla="*/ 61 h 437"/>
                <a:gd name="T54" fmla="*/ 114 w 379"/>
                <a:gd name="T55" fmla="*/ 79 h 437"/>
                <a:gd name="T56" fmla="*/ 79 w 379"/>
                <a:gd name="T57" fmla="*/ 161 h 437"/>
                <a:gd name="T58" fmla="*/ 119 w 379"/>
                <a:gd name="T59" fmla="*/ 169 h 437"/>
                <a:gd name="T60" fmla="*/ 133 w 379"/>
                <a:gd name="T61" fmla="*/ 191 h 437"/>
                <a:gd name="T62" fmla="*/ 155 w 379"/>
                <a:gd name="T63" fmla="*/ 168 h 437"/>
                <a:gd name="T64" fmla="*/ 172 w 379"/>
                <a:gd name="T65" fmla="*/ 153 h 437"/>
                <a:gd name="T66" fmla="*/ 221 w 379"/>
                <a:gd name="T67" fmla="*/ 150 h 437"/>
                <a:gd name="T68" fmla="*/ 250 w 379"/>
                <a:gd name="T69" fmla="*/ 147 h 437"/>
                <a:gd name="T70" fmla="*/ 273 w 379"/>
                <a:gd name="T71" fmla="*/ 173 h 437"/>
                <a:gd name="T72" fmla="*/ 279 w 379"/>
                <a:gd name="T73" fmla="*/ 203 h 437"/>
                <a:gd name="T74" fmla="*/ 246 w 379"/>
                <a:gd name="T75" fmla="*/ 192 h 437"/>
                <a:gd name="T76" fmla="*/ 218 w 379"/>
                <a:gd name="T77" fmla="*/ 185 h 437"/>
                <a:gd name="T78" fmla="*/ 192 w 379"/>
                <a:gd name="T79" fmla="*/ 195 h 437"/>
                <a:gd name="T80" fmla="*/ 186 w 379"/>
                <a:gd name="T81" fmla="*/ 209 h 437"/>
                <a:gd name="T82" fmla="*/ 192 w 379"/>
                <a:gd name="T83" fmla="*/ 233 h 437"/>
                <a:gd name="T84" fmla="*/ 220 w 379"/>
                <a:gd name="T85" fmla="*/ 272 h 437"/>
                <a:gd name="T86" fmla="*/ 225 w 379"/>
                <a:gd name="T87" fmla="*/ 296 h 437"/>
                <a:gd name="T88" fmla="*/ 215 w 379"/>
                <a:gd name="T89" fmla="*/ 322 h 437"/>
                <a:gd name="T90" fmla="*/ 205 w 379"/>
                <a:gd name="T91" fmla="*/ 345 h 437"/>
                <a:gd name="T92" fmla="*/ 210 w 379"/>
                <a:gd name="T93" fmla="*/ 356 h 437"/>
                <a:gd name="T94" fmla="*/ 236 w 379"/>
                <a:gd name="T95" fmla="*/ 368 h 437"/>
                <a:gd name="T96" fmla="*/ 252 w 379"/>
                <a:gd name="T97" fmla="*/ 400 h 437"/>
                <a:gd name="T98" fmla="*/ 239 w 379"/>
                <a:gd name="T99" fmla="*/ 429 h 437"/>
                <a:gd name="T100" fmla="*/ 221 w 379"/>
                <a:gd name="T101" fmla="*/ 421 h 437"/>
                <a:gd name="T102" fmla="*/ 202 w 379"/>
                <a:gd name="T103" fmla="*/ 417 h 437"/>
                <a:gd name="T104" fmla="*/ 177 w 379"/>
                <a:gd name="T105" fmla="*/ 400 h 437"/>
                <a:gd name="T106" fmla="*/ 153 w 379"/>
                <a:gd name="T107" fmla="*/ 356 h 437"/>
                <a:gd name="T108" fmla="*/ 137 w 379"/>
                <a:gd name="T109" fmla="*/ 304 h 437"/>
                <a:gd name="T110" fmla="*/ 114 w 379"/>
                <a:gd name="T111" fmla="*/ 263 h 437"/>
                <a:gd name="T112" fmla="*/ 97 w 379"/>
                <a:gd name="T113" fmla="*/ 259 h 437"/>
                <a:gd name="T114" fmla="*/ 105 w 379"/>
                <a:gd name="T115" fmla="*/ 381 h 437"/>
                <a:gd name="T116" fmla="*/ 93 w 379"/>
                <a:gd name="T117" fmla="*/ 404 h 437"/>
                <a:gd name="T118" fmla="*/ 57 w 379"/>
                <a:gd name="T119" fmla="*/ 426 h 437"/>
                <a:gd name="T120" fmla="*/ 59 w 379"/>
                <a:gd name="T121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6" name="Freeform 339"/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6638925" y="3838575"/>
              <a:ext cx="250825" cy="95250"/>
            </a:xfrm>
            <a:custGeom>
              <a:avLst/>
              <a:gdLst>
                <a:gd name="T0" fmla="*/ 11 w 578"/>
                <a:gd name="T1" fmla="*/ 50 h 184"/>
                <a:gd name="T2" fmla="*/ 24 w 578"/>
                <a:gd name="T3" fmla="*/ 32 h 184"/>
                <a:gd name="T4" fmla="*/ 41 w 578"/>
                <a:gd name="T5" fmla="*/ 7 h 184"/>
                <a:gd name="T6" fmla="*/ 54 w 578"/>
                <a:gd name="T7" fmla="*/ 0 h 184"/>
                <a:gd name="T8" fmla="*/ 79 w 578"/>
                <a:gd name="T9" fmla="*/ 2 h 184"/>
                <a:gd name="T10" fmla="*/ 95 w 578"/>
                <a:gd name="T11" fmla="*/ 2 h 184"/>
                <a:gd name="T12" fmla="*/ 101 w 578"/>
                <a:gd name="T13" fmla="*/ 5 h 184"/>
                <a:gd name="T14" fmla="*/ 115 w 578"/>
                <a:gd name="T15" fmla="*/ 15 h 184"/>
                <a:gd name="T16" fmla="*/ 147 w 578"/>
                <a:gd name="T17" fmla="*/ 27 h 184"/>
                <a:gd name="T18" fmla="*/ 168 w 578"/>
                <a:gd name="T19" fmla="*/ 37 h 184"/>
                <a:gd name="T20" fmla="*/ 178 w 578"/>
                <a:gd name="T21" fmla="*/ 53 h 184"/>
                <a:gd name="T22" fmla="*/ 192 w 578"/>
                <a:gd name="T23" fmla="*/ 61 h 184"/>
                <a:gd name="T24" fmla="*/ 231 w 578"/>
                <a:gd name="T25" fmla="*/ 60 h 184"/>
                <a:gd name="T26" fmla="*/ 277 w 578"/>
                <a:gd name="T27" fmla="*/ 51 h 184"/>
                <a:gd name="T28" fmla="*/ 299 w 578"/>
                <a:gd name="T29" fmla="*/ 39 h 184"/>
                <a:gd name="T30" fmla="*/ 314 w 578"/>
                <a:gd name="T31" fmla="*/ 34 h 184"/>
                <a:gd name="T32" fmla="*/ 327 w 578"/>
                <a:gd name="T33" fmla="*/ 35 h 184"/>
                <a:gd name="T34" fmla="*/ 339 w 578"/>
                <a:gd name="T35" fmla="*/ 31 h 184"/>
                <a:gd name="T36" fmla="*/ 366 w 578"/>
                <a:gd name="T37" fmla="*/ 34 h 184"/>
                <a:gd name="T38" fmla="*/ 399 w 578"/>
                <a:gd name="T39" fmla="*/ 59 h 184"/>
                <a:gd name="T40" fmla="*/ 428 w 578"/>
                <a:gd name="T41" fmla="*/ 89 h 184"/>
                <a:gd name="T42" fmla="*/ 456 w 578"/>
                <a:gd name="T43" fmla="*/ 105 h 184"/>
                <a:gd name="T44" fmla="*/ 479 w 578"/>
                <a:gd name="T45" fmla="*/ 107 h 184"/>
                <a:gd name="T46" fmla="*/ 493 w 578"/>
                <a:gd name="T47" fmla="*/ 108 h 184"/>
                <a:gd name="T48" fmla="*/ 505 w 578"/>
                <a:gd name="T49" fmla="*/ 125 h 184"/>
                <a:gd name="T50" fmla="*/ 522 w 578"/>
                <a:gd name="T51" fmla="*/ 140 h 184"/>
                <a:gd name="T52" fmla="*/ 534 w 578"/>
                <a:gd name="T53" fmla="*/ 139 h 184"/>
                <a:gd name="T54" fmla="*/ 546 w 578"/>
                <a:gd name="T55" fmla="*/ 128 h 184"/>
                <a:gd name="T56" fmla="*/ 558 w 578"/>
                <a:gd name="T57" fmla="*/ 134 h 184"/>
                <a:gd name="T58" fmla="*/ 571 w 578"/>
                <a:gd name="T59" fmla="*/ 145 h 184"/>
                <a:gd name="T60" fmla="*/ 578 w 578"/>
                <a:gd name="T61" fmla="*/ 160 h 184"/>
                <a:gd name="T62" fmla="*/ 575 w 578"/>
                <a:gd name="T63" fmla="*/ 173 h 184"/>
                <a:gd name="T64" fmla="*/ 567 w 578"/>
                <a:gd name="T65" fmla="*/ 182 h 184"/>
                <a:gd name="T66" fmla="*/ 551 w 578"/>
                <a:gd name="T67" fmla="*/ 178 h 184"/>
                <a:gd name="T68" fmla="*/ 526 w 578"/>
                <a:gd name="T69" fmla="*/ 170 h 184"/>
                <a:gd name="T70" fmla="*/ 491 w 578"/>
                <a:gd name="T71" fmla="*/ 172 h 184"/>
                <a:gd name="T72" fmla="*/ 462 w 578"/>
                <a:gd name="T73" fmla="*/ 170 h 184"/>
                <a:gd name="T74" fmla="*/ 451 w 578"/>
                <a:gd name="T75" fmla="*/ 160 h 184"/>
                <a:gd name="T76" fmla="*/ 438 w 578"/>
                <a:gd name="T77" fmla="*/ 154 h 184"/>
                <a:gd name="T78" fmla="*/ 426 w 578"/>
                <a:gd name="T79" fmla="*/ 160 h 184"/>
                <a:gd name="T80" fmla="*/ 416 w 578"/>
                <a:gd name="T81" fmla="*/ 170 h 184"/>
                <a:gd name="T82" fmla="*/ 398 w 578"/>
                <a:gd name="T83" fmla="*/ 171 h 184"/>
                <a:gd name="T84" fmla="*/ 328 w 578"/>
                <a:gd name="T85" fmla="*/ 153 h 184"/>
                <a:gd name="T86" fmla="*/ 277 w 578"/>
                <a:gd name="T87" fmla="*/ 132 h 184"/>
                <a:gd name="T88" fmla="*/ 266 w 578"/>
                <a:gd name="T89" fmla="*/ 123 h 184"/>
                <a:gd name="T90" fmla="*/ 230 w 578"/>
                <a:gd name="T91" fmla="*/ 119 h 184"/>
                <a:gd name="T92" fmla="*/ 201 w 578"/>
                <a:gd name="T93" fmla="*/ 113 h 184"/>
                <a:gd name="T94" fmla="*/ 168 w 578"/>
                <a:gd name="T95" fmla="*/ 111 h 184"/>
                <a:gd name="T96" fmla="*/ 146 w 578"/>
                <a:gd name="T97" fmla="*/ 111 h 184"/>
                <a:gd name="T98" fmla="*/ 124 w 578"/>
                <a:gd name="T99" fmla="*/ 105 h 184"/>
                <a:gd name="T100" fmla="*/ 120 w 578"/>
                <a:gd name="T101" fmla="*/ 99 h 184"/>
                <a:gd name="T102" fmla="*/ 69 w 578"/>
                <a:gd name="T103" fmla="*/ 97 h 184"/>
                <a:gd name="T104" fmla="*/ 46 w 578"/>
                <a:gd name="T105" fmla="*/ 88 h 184"/>
                <a:gd name="T106" fmla="*/ 0 w 578"/>
                <a:gd name="T107" fmla="*/ 55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7" name="Freeform 340"/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7319963" y="3695700"/>
              <a:ext cx="214312" cy="252413"/>
            </a:xfrm>
            <a:custGeom>
              <a:avLst/>
              <a:gdLst>
                <a:gd name="T0" fmla="*/ 482 w 491"/>
                <a:gd name="T1" fmla="*/ 479 h 481"/>
                <a:gd name="T2" fmla="*/ 457 w 491"/>
                <a:gd name="T3" fmla="*/ 465 h 481"/>
                <a:gd name="T4" fmla="*/ 422 w 491"/>
                <a:gd name="T5" fmla="*/ 434 h 481"/>
                <a:gd name="T6" fmla="*/ 412 w 491"/>
                <a:gd name="T7" fmla="*/ 417 h 481"/>
                <a:gd name="T8" fmla="*/ 376 w 491"/>
                <a:gd name="T9" fmla="*/ 410 h 481"/>
                <a:gd name="T10" fmla="*/ 360 w 491"/>
                <a:gd name="T11" fmla="*/ 406 h 481"/>
                <a:gd name="T12" fmla="*/ 350 w 491"/>
                <a:gd name="T13" fmla="*/ 396 h 481"/>
                <a:gd name="T14" fmla="*/ 346 w 491"/>
                <a:gd name="T15" fmla="*/ 374 h 481"/>
                <a:gd name="T16" fmla="*/ 342 w 491"/>
                <a:gd name="T17" fmla="*/ 332 h 481"/>
                <a:gd name="T18" fmla="*/ 327 w 491"/>
                <a:gd name="T19" fmla="*/ 303 h 481"/>
                <a:gd name="T20" fmla="*/ 319 w 491"/>
                <a:gd name="T21" fmla="*/ 277 h 481"/>
                <a:gd name="T22" fmla="*/ 314 w 491"/>
                <a:gd name="T23" fmla="*/ 244 h 481"/>
                <a:gd name="T24" fmla="*/ 292 w 491"/>
                <a:gd name="T25" fmla="*/ 223 h 481"/>
                <a:gd name="T26" fmla="*/ 260 w 491"/>
                <a:gd name="T27" fmla="*/ 205 h 481"/>
                <a:gd name="T28" fmla="*/ 221 w 491"/>
                <a:gd name="T29" fmla="*/ 190 h 481"/>
                <a:gd name="T30" fmla="*/ 178 w 491"/>
                <a:gd name="T31" fmla="*/ 181 h 481"/>
                <a:gd name="T32" fmla="*/ 133 w 491"/>
                <a:gd name="T33" fmla="*/ 178 h 481"/>
                <a:gd name="T34" fmla="*/ 133 w 491"/>
                <a:gd name="T35" fmla="*/ 156 h 481"/>
                <a:gd name="T36" fmla="*/ 110 w 491"/>
                <a:gd name="T37" fmla="*/ 145 h 481"/>
                <a:gd name="T38" fmla="*/ 85 w 491"/>
                <a:gd name="T39" fmla="*/ 130 h 481"/>
                <a:gd name="T40" fmla="*/ 66 w 491"/>
                <a:gd name="T41" fmla="*/ 111 h 481"/>
                <a:gd name="T42" fmla="*/ 73 w 491"/>
                <a:gd name="T43" fmla="*/ 133 h 481"/>
                <a:gd name="T44" fmla="*/ 54 w 491"/>
                <a:gd name="T45" fmla="*/ 147 h 481"/>
                <a:gd name="T46" fmla="*/ 40 w 491"/>
                <a:gd name="T47" fmla="*/ 178 h 481"/>
                <a:gd name="T48" fmla="*/ 24 w 491"/>
                <a:gd name="T49" fmla="*/ 220 h 481"/>
                <a:gd name="T50" fmla="*/ 13 w 491"/>
                <a:gd name="T51" fmla="*/ 265 h 481"/>
                <a:gd name="T52" fmla="*/ 14 w 491"/>
                <a:gd name="T53" fmla="*/ 237 h 481"/>
                <a:gd name="T54" fmla="*/ 23 w 491"/>
                <a:gd name="T55" fmla="*/ 209 h 481"/>
                <a:gd name="T56" fmla="*/ 32 w 491"/>
                <a:gd name="T57" fmla="*/ 181 h 481"/>
                <a:gd name="T58" fmla="*/ 30 w 491"/>
                <a:gd name="T59" fmla="*/ 143 h 481"/>
                <a:gd name="T60" fmla="*/ 17 w 491"/>
                <a:gd name="T61" fmla="*/ 111 h 481"/>
                <a:gd name="T62" fmla="*/ 0 w 491"/>
                <a:gd name="T63" fmla="*/ 73 h 481"/>
                <a:gd name="T64" fmla="*/ 34 w 491"/>
                <a:gd name="T65" fmla="*/ 59 h 481"/>
                <a:gd name="T66" fmla="*/ 59 w 491"/>
                <a:gd name="T67" fmla="*/ 55 h 481"/>
                <a:gd name="T68" fmla="*/ 84 w 491"/>
                <a:gd name="T69" fmla="*/ 58 h 481"/>
                <a:gd name="T70" fmla="*/ 102 w 491"/>
                <a:gd name="T71" fmla="*/ 66 h 481"/>
                <a:gd name="T72" fmla="*/ 121 w 491"/>
                <a:gd name="T73" fmla="*/ 82 h 481"/>
                <a:gd name="T74" fmla="*/ 140 w 491"/>
                <a:gd name="T75" fmla="*/ 111 h 481"/>
                <a:gd name="T76" fmla="*/ 183 w 491"/>
                <a:gd name="T77" fmla="*/ 103 h 481"/>
                <a:gd name="T78" fmla="*/ 196 w 491"/>
                <a:gd name="T79" fmla="*/ 96 h 481"/>
                <a:gd name="T80" fmla="*/ 200 w 491"/>
                <a:gd name="T81" fmla="*/ 90 h 481"/>
                <a:gd name="T82" fmla="*/ 207 w 491"/>
                <a:gd name="T83" fmla="*/ 73 h 481"/>
                <a:gd name="T84" fmla="*/ 232 w 491"/>
                <a:gd name="T85" fmla="*/ 54 h 481"/>
                <a:gd name="T86" fmla="*/ 254 w 491"/>
                <a:gd name="T87" fmla="*/ 49 h 481"/>
                <a:gd name="T88" fmla="*/ 263 w 491"/>
                <a:gd name="T89" fmla="*/ 30 h 481"/>
                <a:gd name="T90" fmla="*/ 280 w 491"/>
                <a:gd name="T91" fmla="*/ 9 h 481"/>
                <a:gd name="T92" fmla="*/ 300 w 491"/>
                <a:gd name="T93" fmla="*/ 1 h 481"/>
                <a:gd name="T94" fmla="*/ 323 w 491"/>
                <a:gd name="T95" fmla="*/ 0 h 481"/>
                <a:gd name="T96" fmla="*/ 351 w 491"/>
                <a:gd name="T97" fmla="*/ 8 h 481"/>
                <a:gd name="T98" fmla="*/ 399 w 491"/>
                <a:gd name="T99" fmla="*/ 38 h 481"/>
                <a:gd name="T100" fmla="*/ 428 w 491"/>
                <a:gd name="T101" fmla="*/ 53 h 481"/>
                <a:gd name="T102" fmla="*/ 459 w 491"/>
                <a:gd name="T103" fmla="*/ 60 h 481"/>
                <a:gd name="T104" fmla="*/ 491 w 491"/>
                <a:gd name="T105" fmla="*/ 67 h 481"/>
                <a:gd name="T106" fmla="*/ 491 w 491"/>
                <a:gd name="T107" fmla="*/ 326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8" name="Freeform 341"/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5851525" y="2527300"/>
              <a:ext cx="53975" cy="60325"/>
            </a:xfrm>
            <a:custGeom>
              <a:avLst/>
              <a:gdLst>
                <a:gd name="T0" fmla="*/ 0 w 133"/>
                <a:gd name="T1" fmla="*/ 19 h 117"/>
                <a:gd name="T2" fmla="*/ 72 w 133"/>
                <a:gd name="T3" fmla="*/ 0 h 117"/>
                <a:gd name="T4" fmla="*/ 81 w 133"/>
                <a:gd name="T5" fmla="*/ 6 h 117"/>
                <a:gd name="T6" fmla="*/ 91 w 133"/>
                <a:gd name="T7" fmla="*/ 14 h 117"/>
                <a:gd name="T8" fmla="*/ 101 w 133"/>
                <a:gd name="T9" fmla="*/ 25 h 117"/>
                <a:gd name="T10" fmla="*/ 109 w 133"/>
                <a:gd name="T11" fmla="*/ 37 h 117"/>
                <a:gd name="T12" fmla="*/ 118 w 133"/>
                <a:gd name="T13" fmla="*/ 49 h 117"/>
                <a:gd name="T14" fmla="*/ 126 w 133"/>
                <a:gd name="T15" fmla="*/ 62 h 117"/>
                <a:gd name="T16" fmla="*/ 128 w 133"/>
                <a:gd name="T17" fmla="*/ 68 h 117"/>
                <a:gd name="T18" fmla="*/ 130 w 133"/>
                <a:gd name="T19" fmla="*/ 74 h 117"/>
                <a:gd name="T20" fmla="*/ 131 w 133"/>
                <a:gd name="T21" fmla="*/ 80 h 117"/>
                <a:gd name="T22" fmla="*/ 133 w 133"/>
                <a:gd name="T23" fmla="*/ 86 h 117"/>
                <a:gd name="T24" fmla="*/ 131 w 133"/>
                <a:gd name="T25" fmla="*/ 92 h 117"/>
                <a:gd name="T26" fmla="*/ 128 w 133"/>
                <a:gd name="T27" fmla="*/ 97 h 117"/>
                <a:gd name="T28" fmla="*/ 124 w 133"/>
                <a:gd name="T29" fmla="*/ 102 h 117"/>
                <a:gd name="T30" fmla="*/ 118 w 133"/>
                <a:gd name="T31" fmla="*/ 107 h 117"/>
                <a:gd name="T32" fmla="*/ 113 w 133"/>
                <a:gd name="T33" fmla="*/ 111 h 117"/>
                <a:gd name="T34" fmla="*/ 107 w 133"/>
                <a:gd name="T35" fmla="*/ 114 h 117"/>
                <a:gd name="T36" fmla="*/ 103 w 133"/>
                <a:gd name="T37" fmla="*/ 117 h 117"/>
                <a:gd name="T38" fmla="*/ 100 w 133"/>
                <a:gd name="T39" fmla="*/ 117 h 117"/>
                <a:gd name="T40" fmla="*/ 72 w 133"/>
                <a:gd name="T41" fmla="*/ 95 h 117"/>
                <a:gd name="T42" fmla="*/ 45 w 133"/>
                <a:gd name="T43" fmla="*/ 70 h 117"/>
                <a:gd name="T44" fmla="*/ 32 w 133"/>
                <a:gd name="T45" fmla="*/ 58 h 117"/>
                <a:gd name="T46" fmla="*/ 18 w 133"/>
                <a:gd name="T47" fmla="*/ 46 h 117"/>
                <a:gd name="T48" fmla="*/ 8 w 133"/>
                <a:gd name="T49" fmla="*/ 33 h 117"/>
                <a:gd name="T50" fmla="*/ 0 w 133"/>
                <a:gd name="T51" fmla="*/ 19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9" name="Freeform 343"/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4371975" y="2136775"/>
              <a:ext cx="146050" cy="71438"/>
            </a:xfrm>
            <a:custGeom>
              <a:avLst/>
              <a:gdLst>
                <a:gd name="T0" fmla="*/ 312 w 338"/>
                <a:gd name="T1" fmla="*/ 0 h 141"/>
                <a:gd name="T2" fmla="*/ 186 w 338"/>
                <a:gd name="T3" fmla="*/ 0 h 141"/>
                <a:gd name="T4" fmla="*/ 168 w 338"/>
                <a:gd name="T5" fmla="*/ 8 h 141"/>
                <a:gd name="T6" fmla="*/ 144 w 338"/>
                <a:gd name="T7" fmla="*/ 21 h 141"/>
                <a:gd name="T8" fmla="*/ 132 w 338"/>
                <a:gd name="T9" fmla="*/ 27 h 141"/>
                <a:gd name="T10" fmla="*/ 119 w 338"/>
                <a:gd name="T11" fmla="*/ 32 h 141"/>
                <a:gd name="T12" fmla="*/ 112 w 338"/>
                <a:gd name="T13" fmla="*/ 34 h 141"/>
                <a:gd name="T14" fmla="*/ 105 w 338"/>
                <a:gd name="T15" fmla="*/ 35 h 141"/>
                <a:gd name="T16" fmla="*/ 99 w 338"/>
                <a:gd name="T17" fmla="*/ 36 h 141"/>
                <a:gd name="T18" fmla="*/ 93 w 338"/>
                <a:gd name="T19" fmla="*/ 37 h 141"/>
                <a:gd name="T20" fmla="*/ 88 w 338"/>
                <a:gd name="T21" fmla="*/ 36 h 141"/>
                <a:gd name="T22" fmla="*/ 84 w 338"/>
                <a:gd name="T23" fmla="*/ 35 h 141"/>
                <a:gd name="T24" fmla="*/ 78 w 338"/>
                <a:gd name="T25" fmla="*/ 32 h 141"/>
                <a:gd name="T26" fmla="*/ 74 w 338"/>
                <a:gd name="T27" fmla="*/ 30 h 141"/>
                <a:gd name="T28" fmla="*/ 66 w 338"/>
                <a:gd name="T29" fmla="*/ 24 h 141"/>
                <a:gd name="T30" fmla="*/ 59 w 338"/>
                <a:gd name="T31" fmla="*/ 18 h 141"/>
                <a:gd name="T32" fmla="*/ 49 w 338"/>
                <a:gd name="T33" fmla="*/ 34 h 141"/>
                <a:gd name="T34" fmla="*/ 37 w 338"/>
                <a:gd name="T35" fmla="*/ 51 h 141"/>
                <a:gd name="T36" fmla="*/ 30 w 338"/>
                <a:gd name="T37" fmla="*/ 60 h 141"/>
                <a:gd name="T38" fmla="*/ 21 w 338"/>
                <a:gd name="T39" fmla="*/ 68 h 141"/>
                <a:gd name="T40" fmla="*/ 11 w 338"/>
                <a:gd name="T41" fmla="*/ 75 h 141"/>
                <a:gd name="T42" fmla="*/ 0 w 338"/>
                <a:gd name="T43" fmla="*/ 80 h 141"/>
                <a:gd name="T44" fmla="*/ 12 w 338"/>
                <a:gd name="T45" fmla="*/ 90 h 141"/>
                <a:gd name="T46" fmla="*/ 23 w 338"/>
                <a:gd name="T47" fmla="*/ 100 h 141"/>
                <a:gd name="T48" fmla="*/ 33 w 338"/>
                <a:gd name="T49" fmla="*/ 108 h 141"/>
                <a:gd name="T50" fmla="*/ 44 w 338"/>
                <a:gd name="T51" fmla="*/ 116 h 141"/>
                <a:gd name="T52" fmla="*/ 55 w 338"/>
                <a:gd name="T53" fmla="*/ 122 h 141"/>
                <a:gd name="T54" fmla="*/ 66 w 338"/>
                <a:gd name="T55" fmla="*/ 129 h 141"/>
                <a:gd name="T56" fmla="*/ 79 w 338"/>
                <a:gd name="T57" fmla="*/ 135 h 141"/>
                <a:gd name="T58" fmla="*/ 93 w 338"/>
                <a:gd name="T59" fmla="*/ 141 h 141"/>
                <a:gd name="T60" fmla="*/ 259 w 338"/>
                <a:gd name="T61" fmla="*/ 141 h 141"/>
                <a:gd name="T62" fmla="*/ 269 w 338"/>
                <a:gd name="T63" fmla="*/ 124 h 141"/>
                <a:gd name="T64" fmla="*/ 281 w 338"/>
                <a:gd name="T65" fmla="*/ 107 h 141"/>
                <a:gd name="T66" fmla="*/ 292 w 338"/>
                <a:gd name="T67" fmla="*/ 92 h 141"/>
                <a:gd name="T68" fmla="*/ 304 w 338"/>
                <a:gd name="T69" fmla="*/ 78 h 141"/>
                <a:gd name="T70" fmla="*/ 315 w 338"/>
                <a:gd name="T71" fmla="*/ 64 h 141"/>
                <a:gd name="T72" fmla="*/ 324 w 338"/>
                <a:gd name="T73" fmla="*/ 48 h 141"/>
                <a:gd name="T74" fmla="*/ 333 w 338"/>
                <a:gd name="T75" fmla="*/ 34 h 141"/>
                <a:gd name="T76" fmla="*/ 338 w 338"/>
                <a:gd name="T77" fmla="*/ 18 h 141"/>
                <a:gd name="T78" fmla="*/ 312 w 338"/>
                <a:gd name="T7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50" name="Freeform 344"/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4471988" y="1792288"/>
              <a:ext cx="111125" cy="65087"/>
            </a:xfrm>
            <a:custGeom>
              <a:avLst/>
              <a:gdLst>
                <a:gd name="T0" fmla="*/ 259 w 259"/>
                <a:gd name="T1" fmla="*/ 129 h 129"/>
                <a:gd name="T2" fmla="*/ 255 w 259"/>
                <a:gd name="T3" fmla="*/ 102 h 129"/>
                <a:gd name="T4" fmla="*/ 252 w 259"/>
                <a:gd name="T5" fmla="*/ 80 h 129"/>
                <a:gd name="T6" fmla="*/ 252 w 259"/>
                <a:gd name="T7" fmla="*/ 63 h 129"/>
                <a:gd name="T8" fmla="*/ 253 w 259"/>
                <a:gd name="T9" fmla="*/ 50 h 129"/>
                <a:gd name="T10" fmla="*/ 257 w 259"/>
                <a:gd name="T11" fmla="*/ 29 h 129"/>
                <a:gd name="T12" fmla="*/ 259 w 259"/>
                <a:gd name="T13" fmla="*/ 12 h 129"/>
                <a:gd name="T14" fmla="*/ 258 w 259"/>
                <a:gd name="T15" fmla="*/ 14 h 129"/>
                <a:gd name="T16" fmla="*/ 256 w 259"/>
                <a:gd name="T17" fmla="*/ 16 h 129"/>
                <a:gd name="T18" fmla="*/ 253 w 259"/>
                <a:gd name="T19" fmla="*/ 17 h 129"/>
                <a:gd name="T20" fmla="*/ 249 w 259"/>
                <a:gd name="T21" fmla="*/ 18 h 129"/>
                <a:gd name="T22" fmla="*/ 239 w 259"/>
                <a:gd name="T23" fmla="*/ 19 h 129"/>
                <a:gd name="T24" fmla="*/ 228 w 259"/>
                <a:gd name="T25" fmla="*/ 19 h 129"/>
                <a:gd name="T26" fmla="*/ 205 w 259"/>
                <a:gd name="T27" fmla="*/ 19 h 129"/>
                <a:gd name="T28" fmla="*/ 192 w 259"/>
                <a:gd name="T29" fmla="*/ 18 h 129"/>
                <a:gd name="T30" fmla="*/ 181 w 259"/>
                <a:gd name="T31" fmla="*/ 17 h 129"/>
                <a:gd name="T32" fmla="*/ 172 w 259"/>
                <a:gd name="T33" fmla="*/ 15 h 129"/>
                <a:gd name="T34" fmla="*/ 163 w 259"/>
                <a:gd name="T35" fmla="*/ 12 h 129"/>
                <a:gd name="T36" fmla="*/ 156 w 259"/>
                <a:gd name="T37" fmla="*/ 9 h 129"/>
                <a:gd name="T38" fmla="*/ 146 w 259"/>
                <a:gd name="T39" fmla="*/ 6 h 129"/>
                <a:gd name="T40" fmla="*/ 134 w 259"/>
                <a:gd name="T41" fmla="*/ 3 h 129"/>
                <a:gd name="T42" fmla="*/ 118 w 259"/>
                <a:gd name="T43" fmla="*/ 1 h 129"/>
                <a:gd name="T44" fmla="*/ 99 w 259"/>
                <a:gd name="T45" fmla="*/ 0 h 129"/>
                <a:gd name="T46" fmla="*/ 83 w 259"/>
                <a:gd name="T47" fmla="*/ 0 h 129"/>
                <a:gd name="T48" fmla="*/ 67 w 259"/>
                <a:gd name="T49" fmla="*/ 0 h 129"/>
                <a:gd name="T50" fmla="*/ 50 w 259"/>
                <a:gd name="T51" fmla="*/ 0 h 129"/>
                <a:gd name="T52" fmla="*/ 34 w 259"/>
                <a:gd name="T53" fmla="*/ 2 h 129"/>
                <a:gd name="T54" fmla="*/ 27 w 259"/>
                <a:gd name="T55" fmla="*/ 4 h 129"/>
                <a:gd name="T56" fmla="*/ 21 w 259"/>
                <a:gd name="T57" fmla="*/ 6 h 129"/>
                <a:gd name="T58" fmla="*/ 14 w 259"/>
                <a:gd name="T59" fmla="*/ 9 h 129"/>
                <a:gd name="T60" fmla="*/ 10 w 259"/>
                <a:gd name="T61" fmla="*/ 13 h 129"/>
                <a:gd name="T62" fmla="*/ 5 w 259"/>
                <a:gd name="T63" fmla="*/ 17 h 129"/>
                <a:gd name="T64" fmla="*/ 2 w 259"/>
                <a:gd name="T65" fmla="*/ 22 h 129"/>
                <a:gd name="T66" fmla="*/ 0 w 259"/>
                <a:gd name="T67" fmla="*/ 29 h 129"/>
                <a:gd name="T68" fmla="*/ 0 w 259"/>
                <a:gd name="T69" fmla="*/ 36 h 129"/>
                <a:gd name="T70" fmla="*/ 0 w 259"/>
                <a:gd name="T71" fmla="*/ 48 h 129"/>
                <a:gd name="T72" fmla="*/ 3 w 259"/>
                <a:gd name="T73" fmla="*/ 58 h 129"/>
                <a:gd name="T74" fmla="*/ 6 w 259"/>
                <a:gd name="T75" fmla="*/ 65 h 129"/>
                <a:gd name="T76" fmla="*/ 12 w 259"/>
                <a:gd name="T77" fmla="*/ 71 h 129"/>
                <a:gd name="T78" fmla="*/ 17 w 259"/>
                <a:gd name="T79" fmla="*/ 76 h 129"/>
                <a:gd name="T80" fmla="*/ 24 w 259"/>
                <a:gd name="T81" fmla="*/ 80 h 129"/>
                <a:gd name="T82" fmla="*/ 31 w 259"/>
                <a:gd name="T83" fmla="*/ 83 h 129"/>
                <a:gd name="T84" fmla="*/ 37 w 259"/>
                <a:gd name="T85" fmla="*/ 85 h 129"/>
                <a:gd name="T86" fmla="*/ 50 w 259"/>
                <a:gd name="T87" fmla="*/ 88 h 129"/>
                <a:gd name="T88" fmla="*/ 61 w 259"/>
                <a:gd name="T89" fmla="*/ 92 h 129"/>
                <a:gd name="T90" fmla="*/ 65 w 259"/>
                <a:gd name="T91" fmla="*/ 95 h 129"/>
                <a:gd name="T92" fmla="*/ 67 w 259"/>
                <a:gd name="T93" fmla="*/ 99 h 129"/>
                <a:gd name="T94" fmla="*/ 67 w 259"/>
                <a:gd name="T95" fmla="*/ 105 h 129"/>
                <a:gd name="T96" fmla="*/ 66 w 259"/>
                <a:gd name="T97" fmla="*/ 111 h 129"/>
                <a:gd name="T98" fmla="*/ 81 w 259"/>
                <a:gd name="T99" fmla="*/ 110 h 129"/>
                <a:gd name="T100" fmla="*/ 91 w 259"/>
                <a:gd name="T101" fmla="*/ 108 h 129"/>
                <a:gd name="T102" fmla="*/ 98 w 259"/>
                <a:gd name="T103" fmla="*/ 106 h 129"/>
                <a:gd name="T104" fmla="*/ 105 w 259"/>
                <a:gd name="T105" fmla="*/ 105 h 129"/>
                <a:gd name="T106" fmla="*/ 120 w 259"/>
                <a:gd name="T107" fmla="*/ 106 h 129"/>
                <a:gd name="T108" fmla="*/ 140 w 259"/>
                <a:gd name="T109" fmla="*/ 108 h 129"/>
                <a:gd name="T110" fmla="*/ 166 w 259"/>
                <a:gd name="T111" fmla="*/ 112 h 129"/>
                <a:gd name="T112" fmla="*/ 192 w 259"/>
                <a:gd name="T113" fmla="*/ 117 h 129"/>
                <a:gd name="T114" fmla="*/ 238 w 259"/>
                <a:gd name="T115" fmla="*/ 125 h 129"/>
                <a:gd name="T116" fmla="*/ 259 w 259"/>
                <a:gd name="T117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51" name="Freeform 345"/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4484688" y="2139950"/>
              <a:ext cx="179387" cy="142875"/>
            </a:xfrm>
            <a:custGeom>
              <a:avLst/>
              <a:gdLst>
                <a:gd name="T0" fmla="*/ 418 w 425"/>
                <a:gd name="T1" fmla="*/ 170 h 272"/>
                <a:gd name="T2" fmla="*/ 398 w 425"/>
                <a:gd name="T3" fmla="*/ 188 h 272"/>
                <a:gd name="T4" fmla="*/ 383 w 425"/>
                <a:gd name="T5" fmla="*/ 206 h 272"/>
                <a:gd name="T6" fmla="*/ 384 w 425"/>
                <a:gd name="T7" fmla="*/ 221 h 272"/>
                <a:gd name="T8" fmla="*/ 389 w 425"/>
                <a:gd name="T9" fmla="*/ 237 h 272"/>
                <a:gd name="T10" fmla="*/ 375 w 425"/>
                <a:gd name="T11" fmla="*/ 244 h 272"/>
                <a:gd name="T12" fmla="*/ 347 w 425"/>
                <a:gd name="T13" fmla="*/ 238 h 272"/>
                <a:gd name="T14" fmla="*/ 324 w 425"/>
                <a:gd name="T15" fmla="*/ 235 h 272"/>
                <a:gd name="T16" fmla="*/ 295 w 425"/>
                <a:gd name="T17" fmla="*/ 235 h 272"/>
                <a:gd name="T18" fmla="*/ 263 w 425"/>
                <a:gd name="T19" fmla="*/ 243 h 272"/>
                <a:gd name="T20" fmla="*/ 232 w 425"/>
                <a:gd name="T21" fmla="*/ 254 h 272"/>
                <a:gd name="T22" fmla="*/ 197 w 425"/>
                <a:gd name="T23" fmla="*/ 267 h 272"/>
                <a:gd name="T24" fmla="*/ 100 w 425"/>
                <a:gd name="T25" fmla="*/ 240 h 272"/>
                <a:gd name="T26" fmla="*/ 85 w 425"/>
                <a:gd name="T27" fmla="*/ 226 h 272"/>
                <a:gd name="T28" fmla="*/ 70 w 425"/>
                <a:gd name="T29" fmla="*/ 214 h 272"/>
                <a:gd name="T30" fmla="*/ 37 w 425"/>
                <a:gd name="T31" fmla="*/ 192 h 272"/>
                <a:gd name="T32" fmla="*/ 22 w 425"/>
                <a:gd name="T33" fmla="*/ 180 h 272"/>
                <a:gd name="T34" fmla="*/ 11 w 425"/>
                <a:gd name="T35" fmla="*/ 167 h 272"/>
                <a:gd name="T36" fmla="*/ 2 w 425"/>
                <a:gd name="T37" fmla="*/ 150 h 272"/>
                <a:gd name="T38" fmla="*/ 0 w 425"/>
                <a:gd name="T39" fmla="*/ 129 h 272"/>
                <a:gd name="T40" fmla="*/ 50 w 425"/>
                <a:gd name="T41" fmla="*/ 66 h 272"/>
                <a:gd name="T42" fmla="*/ 71 w 425"/>
                <a:gd name="T43" fmla="*/ 36 h 272"/>
                <a:gd name="T44" fmla="*/ 80 w 425"/>
                <a:gd name="T45" fmla="*/ 22 h 272"/>
                <a:gd name="T46" fmla="*/ 85 w 425"/>
                <a:gd name="T47" fmla="*/ 6 h 272"/>
                <a:gd name="T48" fmla="*/ 123 w 425"/>
                <a:gd name="T49" fmla="*/ 10 h 272"/>
                <a:gd name="T50" fmla="*/ 153 w 425"/>
                <a:gd name="T51" fmla="*/ 18 h 272"/>
                <a:gd name="T52" fmla="*/ 180 w 425"/>
                <a:gd name="T53" fmla="*/ 27 h 272"/>
                <a:gd name="T54" fmla="*/ 205 w 425"/>
                <a:gd name="T55" fmla="*/ 31 h 272"/>
                <a:gd name="T56" fmla="*/ 214 w 425"/>
                <a:gd name="T57" fmla="*/ 29 h 272"/>
                <a:gd name="T58" fmla="*/ 221 w 425"/>
                <a:gd name="T59" fmla="*/ 26 h 272"/>
                <a:gd name="T60" fmla="*/ 232 w 425"/>
                <a:gd name="T61" fmla="*/ 15 h 272"/>
                <a:gd name="T62" fmla="*/ 242 w 425"/>
                <a:gd name="T63" fmla="*/ 5 h 272"/>
                <a:gd name="T64" fmla="*/ 250 w 425"/>
                <a:gd name="T65" fmla="*/ 2 h 272"/>
                <a:gd name="T66" fmla="*/ 259 w 425"/>
                <a:gd name="T67" fmla="*/ 0 h 272"/>
                <a:gd name="T68" fmla="*/ 275 w 425"/>
                <a:gd name="T69" fmla="*/ 2 h 272"/>
                <a:gd name="T70" fmla="*/ 289 w 425"/>
                <a:gd name="T71" fmla="*/ 7 h 272"/>
                <a:gd name="T72" fmla="*/ 302 w 425"/>
                <a:gd name="T73" fmla="*/ 15 h 272"/>
                <a:gd name="T74" fmla="*/ 310 w 425"/>
                <a:gd name="T75" fmla="*/ 26 h 272"/>
                <a:gd name="T76" fmla="*/ 325 w 425"/>
                <a:gd name="T77" fmla="*/ 53 h 272"/>
                <a:gd name="T78" fmla="*/ 337 w 425"/>
                <a:gd name="T79" fmla="*/ 82 h 272"/>
                <a:gd name="T80" fmla="*/ 349 w 425"/>
                <a:gd name="T81" fmla="*/ 113 h 272"/>
                <a:gd name="T82" fmla="*/ 356 w 425"/>
                <a:gd name="T83" fmla="*/ 126 h 272"/>
                <a:gd name="T84" fmla="*/ 365 w 425"/>
                <a:gd name="T85" fmla="*/ 138 h 272"/>
                <a:gd name="T86" fmla="*/ 376 w 425"/>
                <a:gd name="T87" fmla="*/ 147 h 272"/>
                <a:gd name="T88" fmla="*/ 389 w 425"/>
                <a:gd name="T89" fmla="*/ 156 h 272"/>
                <a:gd name="T90" fmla="*/ 405 w 425"/>
                <a:gd name="T91" fmla="*/ 160 h 272"/>
                <a:gd name="T92" fmla="*/ 425 w 425"/>
                <a:gd name="T93" fmla="*/ 161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52" name="Freeform 346"/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2484438" y="3178175"/>
              <a:ext cx="14287" cy="55563"/>
            </a:xfrm>
            <a:custGeom>
              <a:avLst/>
              <a:gdLst>
                <a:gd name="T0" fmla="*/ 13 w 33"/>
                <a:gd name="T1" fmla="*/ 6 h 31"/>
                <a:gd name="T2" fmla="*/ 0 w 33"/>
                <a:gd name="T3" fmla="*/ 19 h 31"/>
                <a:gd name="T4" fmla="*/ 5 w 33"/>
                <a:gd name="T5" fmla="*/ 21 h 31"/>
                <a:gd name="T6" fmla="*/ 14 w 33"/>
                <a:gd name="T7" fmla="*/ 25 h 31"/>
                <a:gd name="T8" fmla="*/ 19 w 33"/>
                <a:gd name="T9" fmla="*/ 27 h 31"/>
                <a:gd name="T10" fmla="*/ 23 w 33"/>
                <a:gd name="T11" fmla="*/ 29 h 31"/>
                <a:gd name="T12" fmla="*/ 27 w 33"/>
                <a:gd name="T13" fmla="*/ 30 h 31"/>
                <a:gd name="T14" fmla="*/ 33 w 33"/>
                <a:gd name="T15" fmla="*/ 31 h 31"/>
                <a:gd name="T16" fmla="*/ 33 w 33"/>
                <a:gd name="T17" fmla="*/ 0 h 31"/>
                <a:gd name="T18" fmla="*/ 20 w 33"/>
                <a:gd name="T19" fmla="*/ 0 h 31"/>
                <a:gd name="T20" fmla="*/ 13 w 33"/>
                <a:gd name="T21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53" name="Freeform 347"/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4589463" y="2132013"/>
              <a:ext cx="85725" cy="79375"/>
            </a:xfrm>
            <a:custGeom>
              <a:avLst/>
              <a:gdLst>
                <a:gd name="T0" fmla="*/ 6 w 192"/>
                <a:gd name="T1" fmla="*/ 19 h 154"/>
                <a:gd name="T2" fmla="*/ 52 w 192"/>
                <a:gd name="T3" fmla="*/ 0 h 154"/>
                <a:gd name="T4" fmla="*/ 92 w 192"/>
                <a:gd name="T5" fmla="*/ 19 h 154"/>
                <a:gd name="T6" fmla="*/ 119 w 192"/>
                <a:gd name="T7" fmla="*/ 31 h 154"/>
                <a:gd name="T8" fmla="*/ 146 w 192"/>
                <a:gd name="T9" fmla="*/ 63 h 154"/>
                <a:gd name="T10" fmla="*/ 166 w 192"/>
                <a:gd name="T11" fmla="*/ 93 h 154"/>
                <a:gd name="T12" fmla="*/ 192 w 192"/>
                <a:gd name="T13" fmla="*/ 118 h 154"/>
                <a:gd name="T14" fmla="*/ 152 w 192"/>
                <a:gd name="T15" fmla="*/ 124 h 154"/>
                <a:gd name="T16" fmla="*/ 126 w 192"/>
                <a:gd name="T17" fmla="*/ 130 h 154"/>
                <a:gd name="T18" fmla="*/ 126 w 192"/>
                <a:gd name="T19" fmla="*/ 154 h 154"/>
                <a:gd name="T20" fmla="*/ 106 w 192"/>
                <a:gd name="T21" fmla="*/ 154 h 154"/>
                <a:gd name="T22" fmla="*/ 99 w 192"/>
                <a:gd name="T23" fmla="*/ 146 h 154"/>
                <a:gd name="T24" fmla="*/ 93 w 192"/>
                <a:gd name="T25" fmla="*/ 137 h 154"/>
                <a:gd name="T26" fmla="*/ 88 w 192"/>
                <a:gd name="T27" fmla="*/ 126 h 154"/>
                <a:gd name="T28" fmla="*/ 82 w 192"/>
                <a:gd name="T29" fmla="*/ 115 h 154"/>
                <a:gd name="T30" fmla="*/ 74 w 192"/>
                <a:gd name="T31" fmla="*/ 93 h 154"/>
                <a:gd name="T32" fmla="*/ 65 w 192"/>
                <a:gd name="T33" fmla="*/ 71 h 154"/>
                <a:gd name="T34" fmla="*/ 60 w 192"/>
                <a:gd name="T35" fmla="*/ 61 h 154"/>
                <a:gd name="T36" fmla="*/ 55 w 192"/>
                <a:gd name="T37" fmla="*/ 50 h 154"/>
                <a:gd name="T38" fmla="*/ 48 w 192"/>
                <a:gd name="T39" fmla="*/ 42 h 154"/>
                <a:gd name="T40" fmla="*/ 41 w 192"/>
                <a:gd name="T41" fmla="*/ 34 h 154"/>
                <a:gd name="T42" fmla="*/ 33 w 192"/>
                <a:gd name="T43" fmla="*/ 28 h 154"/>
                <a:gd name="T44" fmla="*/ 24 w 192"/>
                <a:gd name="T45" fmla="*/ 23 h 154"/>
                <a:gd name="T46" fmla="*/ 18 w 192"/>
                <a:gd name="T47" fmla="*/ 22 h 154"/>
                <a:gd name="T48" fmla="*/ 12 w 192"/>
                <a:gd name="T49" fmla="*/ 20 h 154"/>
                <a:gd name="T50" fmla="*/ 6 w 192"/>
                <a:gd name="T51" fmla="*/ 20 h 154"/>
                <a:gd name="T52" fmla="*/ 0 w 192"/>
                <a:gd name="T53" fmla="*/ 19 h 154"/>
                <a:gd name="T54" fmla="*/ 6 w 192"/>
                <a:gd name="T55" fmla="*/ 19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no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54" name="Freeform 348"/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4506913" y="2014538"/>
              <a:ext cx="381000" cy="247650"/>
            </a:xfrm>
            <a:custGeom>
              <a:avLst/>
              <a:gdLst>
                <a:gd name="T0" fmla="*/ 392 w 877"/>
                <a:gd name="T1" fmla="*/ 340 h 469"/>
                <a:gd name="T2" fmla="*/ 319 w 877"/>
                <a:gd name="T3" fmla="*/ 253 h 469"/>
                <a:gd name="T4" fmla="*/ 206 w 877"/>
                <a:gd name="T5" fmla="*/ 241 h 469"/>
                <a:gd name="T6" fmla="*/ 191 w 877"/>
                <a:gd name="T7" fmla="*/ 243 h 469"/>
                <a:gd name="T8" fmla="*/ 178 w 877"/>
                <a:gd name="T9" fmla="*/ 251 h 469"/>
                <a:gd name="T10" fmla="*/ 162 w 877"/>
                <a:gd name="T11" fmla="*/ 267 h 469"/>
                <a:gd name="T12" fmla="*/ 151 w 877"/>
                <a:gd name="T13" fmla="*/ 271 h 469"/>
                <a:gd name="T14" fmla="*/ 121 w 877"/>
                <a:gd name="T15" fmla="*/ 268 h 469"/>
                <a:gd name="T16" fmla="*/ 79 w 877"/>
                <a:gd name="T17" fmla="*/ 255 h 469"/>
                <a:gd name="T18" fmla="*/ 26 w 877"/>
                <a:gd name="T19" fmla="*/ 247 h 469"/>
                <a:gd name="T20" fmla="*/ 8 w 877"/>
                <a:gd name="T21" fmla="*/ 212 h 469"/>
                <a:gd name="T22" fmla="*/ 13 w 877"/>
                <a:gd name="T23" fmla="*/ 187 h 469"/>
                <a:gd name="T24" fmla="*/ 13 w 877"/>
                <a:gd name="T25" fmla="*/ 180 h 469"/>
                <a:gd name="T26" fmla="*/ 23 w 877"/>
                <a:gd name="T27" fmla="*/ 144 h 469"/>
                <a:gd name="T28" fmla="*/ 44 w 877"/>
                <a:gd name="T29" fmla="*/ 112 h 469"/>
                <a:gd name="T30" fmla="*/ 54 w 877"/>
                <a:gd name="T31" fmla="*/ 92 h 469"/>
                <a:gd name="T32" fmla="*/ 26 w 877"/>
                <a:gd name="T33" fmla="*/ 50 h 469"/>
                <a:gd name="T34" fmla="*/ 173 w 877"/>
                <a:gd name="T35" fmla="*/ 26 h 469"/>
                <a:gd name="T36" fmla="*/ 339 w 877"/>
                <a:gd name="T37" fmla="*/ 50 h 469"/>
                <a:gd name="T38" fmla="*/ 392 w 877"/>
                <a:gd name="T39" fmla="*/ 13 h 469"/>
                <a:gd name="T40" fmla="*/ 485 w 877"/>
                <a:gd name="T41" fmla="*/ 0 h 469"/>
                <a:gd name="T42" fmla="*/ 579 w 877"/>
                <a:gd name="T43" fmla="*/ 38 h 469"/>
                <a:gd name="T44" fmla="*/ 638 w 877"/>
                <a:gd name="T45" fmla="*/ 111 h 469"/>
                <a:gd name="T46" fmla="*/ 725 w 877"/>
                <a:gd name="T47" fmla="*/ 111 h 469"/>
                <a:gd name="T48" fmla="*/ 838 w 877"/>
                <a:gd name="T49" fmla="*/ 155 h 469"/>
                <a:gd name="T50" fmla="*/ 864 w 877"/>
                <a:gd name="T51" fmla="*/ 235 h 469"/>
                <a:gd name="T52" fmla="*/ 804 w 877"/>
                <a:gd name="T53" fmla="*/ 272 h 469"/>
                <a:gd name="T54" fmla="*/ 754 w 877"/>
                <a:gd name="T55" fmla="*/ 313 h 469"/>
                <a:gd name="T56" fmla="*/ 688 w 877"/>
                <a:gd name="T57" fmla="*/ 330 h 469"/>
                <a:gd name="T58" fmla="*/ 663 w 877"/>
                <a:gd name="T59" fmla="*/ 343 h 469"/>
                <a:gd name="T60" fmla="*/ 648 w 877"/>
                <a:gd name="T61" fmla="*/ 358 h 469"/>
                <a:gd name="T62" fmla="*/ 646 w 877"/>
                <a:gd name="T63" fmla="*/ 375 h 469"/>
                <a:gd name="T64" fmla="*/ 653 w 877"/>
                <a:gd name="T65" fmla="*/ 390 h 469"/>
                <a:gd name="T66" fmla="*/ 666 w 877"/>
                <a:gd name="T67" fmla="*/ 401 h 469"/>
                <a:gd name="T68" fmla="*/ 711 w 877"/>
                <a:gd name="T69" fmla="*/ 396 h 469"/>
                <a:gd name="T70" fmla="*/ 741 w 877"/>
                <a:gd name="T71" fmla="*/ 394 h 469"/>
                <a:gd name="T72" fmla="*/ 734 w 877"/>
                <a:gd name="T73" fmla="*/ 403 h 469"/>
                <a:gd name="T74" fmla="*/ 716 w 877"/>
                <a:gd name="T75" fmla="*/ 421 h 469"/>
                <a:gd name="T76" fmla="*/ 698 w 877"/>
                <a:gd name="T77" fmla="*/ 438 h 469"/>
                <a:gd name="T78" fmla="*/ 689 w 877"/>
                <a:gd name="T79" fmla="*/ 419 h 469"/>
                <a:gd name="T80" fmla="*/ 671 w 877"/>
                <a:gd name="T81" fmla="*/ 408 h 469"/>
                <a:gd name="T82" fmla="*/ 666 w 877"/>
                <a:gd name="T83" fmla="*/ 423 h 469"/>
                <a:gd name="T84" fmla="*/ 643 w 877"/>
                <a:gd name="T85" fmla="*/ 442 h 469"/>
                <a:gd name="T86" fmla="*/ 619 w 877"/>
                <a:gd name="T87" fmla="*/ 460 h 469"/>
                <a:gd name="T88" fmla="*/ 611 w 877"/>
                <a:gd name="T89" fmla="*/ 469 h 469"/>
                <a:gd name="T90" fmla="*/ 595 w 877"/>
                <a:gd name="T91" fmla="*/ 464 h 469"/>
                <a:gd name="T92" fmla="*/ 584 w 877"/>
                <a:gd name="T93" fmla="*/ 455 h 469"/>
                <a:gd name="T94" fmla="*/ 575 w 877"/>
                <a:gd name="T95" fmla="*/ 439 h 469"/>
                <a:gd name="T96" fmla="*/ 572 w 877"/>
                <a:gd name="T97" fmla="*/ 408 h 469"/>
                <a:gd name="T98" fmla="*/ 548 w 877"/>
                <a:gd name="T99" fmla="*/ 404 h 469"/>
                <a:gd name="T100" fmla="*/ 518 w 877"/>
                <a:gd name="T101" fmla="*/ 389 h 469"/>
                <a:gd name="T102" fmla="*/ 559 w 877"/>
                <a:gd name="T103" fmla="*/ 379 h 469"/>
                <a:gd name="T104" fmla="*/ 625 w 877"/>
                <a:gd name="T105" fmla="*/ 370 h 469"/>
                <a:gd name="T106" fmla="*/ 493 w 877"/>
                <a:gd name="T107" fmla="*/ 354 h 469"/>
                <a:gd name="T108" fmla="*/ 445 w 877"/>
                <a:gd name="T109" fmla="*/ 333 h 469"/>
                <a:gd name="T110" fmla="*/ 398 w 877"/>
                <a:gd name="T111" fmla="*/ 369 h 469"/>
                <a:gd name="T112" fmla="*/ 380 w 877"/>
                <a:gd name="T113" fmla="*/ 395 h 469"/>
                <a:gd name="T114" fmla="*/ 353 w 877"/>
                <a:gd name="T115" fmla="*/ 400 h 469"/>
                <a:gd name="T116" fmla="*/ 328 w 877"/>
                <a:gd name="T117" fmla="*/ 392 h 469"/>
                <a:gd name="T118" fmla="*/ 306 w 877"/>
                <a:gd name="T119" fmla="*/ 376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55" name="Freeform 349"/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5018088" y="2357438"/>
              <a:ext cx="47625" cy="63500"/>
            </a:xfrm>
            <a:custGeom>
              <a:avLst/>
              <a:gdLst>
                <a:gd name="T0" fmla="*/ 48 w 107"/>
                <a:gd name="T1" fmla="*/ 0 h 123"/>
                <a:gd name="T2" fmla="*/ 81 w 107"/>
                <a:gd name="T3" fmla="*/ 31 h 123"/>
                <a:gd name="T4" fmla="*/ 94 w 107"/>
                <a:gd name="T5" fmla="*/ 67 h 123"/>
                <a:gd name="T6" fmla="*/ 107 w 107"/>
                <a:gd name="T7" fmla="*/ 86 h 123"/>
                <a:gd name="T8" fmla="*/ 107 w 107"/>
                <a:gd name="T9" fmla="*/ 117 h 123"/>
                <a:gd name="T10" fmla="*/ 107 w 107"/>
                <a:gd name="T11" fmla="*/ 123 h 123"/>
                <a:gd name="T12" fmla="*/ 88 w 107"/>
                <a:gd name="T13" fmla="*/ 114 h 123"/>
                <a:gd name="T14" fmla="*/ 73 w 107"/>
                <a:gd name="T15" fmla="*/ 105 h 123"/>
                <a:gd name="T16" fmla="*/ 61 w 107"/>
                <a:gd name="T17" fmla="*/ 98 h 123"/>
                <a:gd name="T18" fmla="*/ 54 w 107"/>
                <a:gd name="T19" fmla="*/ 92 h 123"/>
                <a:gd name="T20" fmla="*/ 51 w 107"/>
                <a:gd name="T21" fmla="*/ 83 h 123"/>
                <a:gd name="T22" fmla="*/ 48 w 107"/>
                <a:gd name="T23" fmla="*/ 73 h 123"/>
                <a:gd name="T24" fmla="*/ 39 w 107"/>
                <a:gd name="T25" fmla="*/ 74 h 123"/>
                <a:gd name="T26" fmla="*/ 32 w 107"/>
                <a:gd name="T27" fmla="*/ 73 h 123"/>
                <a:gd name="T28" fmla="*/ 26 w 107"/>
                <a:gd name="T29" fmla="*/ 72 h 123"/>
                <a:gd name="T30" fmla="*/ 21 w 107"/>
                <a:gd name="T31" fmla="*/ 70 h 123"/>
                <a:gd name="T32" fmla="*/ 17 w 107"/>
                <a:gd name="T33" fmla="*/ 67 h 123"/>
                <a:gd name="T34" fmla="*/ 14 w 107"/>
                <a:gd name="T35" fmla="*/ 63 h 123"/>
                <a:gd name="T36" fmla="*/ 11 w 107"/>
                <a:gd name="T37" fmla="*/ 59 h 123"/>
                <a:gd name="T38" fmla="*/ 9 w 107"/>
                <a:gd name="T39" fmla="*/ 54 h 123"/>
                <a:gd name="T40" fmla="*/ 4 w 107"/>
                <a:gd name="T41" fmla="*/ 31 h 123"/>
                <a:gd name="T42" fmla="*/ 0 w 107"/>
                <a:gd name="T43" fmla="*/ 6 h 123"/>
                <a:gd name="T44" fmla="*/ 34 w 107"/>
                <a:gd name="T45" fmla="*/ 0 h 123"/>
                <a:gd name="T46" fmla="*/ 48 w 107"/>
                <a:gd name="T47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56" name="Freeform 350"/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5561013" y="2371725"/>
              <a:ext cx="207962" cy="122238"/>
            </a:xfrm>
            <a:custGeom>
              <a:avLst/>
              <a:gdLst>
                <a:gd name="T0" fmla="*/ 106 w 471"/>
                <a:gd name="T1" fmla="*/ 67 h 234"/>
                <a:gd name="T2" fmla="*/ 166 w 471"/>
                <a:gd name="T3" fmla="*/ 86 h 234"/>
                <a:gd name="T4" fmla="*/ 272 w 471"/>
                <a:gd name="T5" fmla="*/ 105 h 234"/>
                <a:gd name="T6" fmla="*/ 372 w 471"/>
                <a:gd name="T7" fmla="*/ 86 h 234"/>
                <a:gd name="T8" fmla="*/ 383 w 471"/>
                <a:gd name="T9" fmla="*/ 95 h 234"/>
                <a:gd name="T10" fmla="*/ 391 w 471"/>
                <a:gd name="T11" fmla="*/ 114 h 234"/>
                <a:gd name="T12" fmla="*/ 406 w 471"/>
                <a:gd name="T13" fmla="*/ 124 h 234"/>
                <a:gd name="T14" fmla="*/ 424 w 471"/>
                <a:gd name="T15" fmla="*/ 129 h 234"/>
                <a:gd name="T16" fmla="*/ 433 w 471"/>
                <a:gd name="T17" fmla="*/ 134 h 234"/>
                <a:gd name="T18" fmla="*/ 441 w 471"/>
                <a:gd name="T19" fmla="*/ 141 h 234"/>
                <a:gd name="T20" fmla="*/ 448 w 471"/>
                <a:gd name="T21" fmla="*/ 151 h 234"/>
                <a:gd name="T22" fmla="*/ 455 w 471"/>
                <a:gd name="T23" fmla="*/ 170 h 234"/>
                <a:gd name="T24" fmla="*/ 471 w 471"/>
                <a:gd name="T25" fmla="*/ 190 h 234"/>
                <a:gd name="T26" fmla="*/ 350 w 471"/>
                <a:gd name="T27" fmla="*/ 202 h 234"/>
                <a:gd name="T28" fmla="*/ 330 w 471"/>
                <a:gd name="T29" fmla="*/ 224 h 234"/>
                <a:gd name="T30" fmla="*/ 317 w 471"/>
                <a:gd name="T31" fmla="*/ 233 h 234"/>
                <a:gd name="T32" fmla="*/ 306 w 471"/>
                <a:gd name="T33" fmla="*/ 233 h 234"/>
                <a:gd name="T34" fmla="*/ 298 w 471"/>
                <a:gd name="T35" fmla="*/ 230 h 234"/>
                <a:gd name="T36" fmla="*/ 292 w 471"/>
                <a:gd name="T37" fmla="*/ 224 h 234"/>
                <a:gd name="T38" fmla="*/ 289 w 471"/>
                <a:gd name="T39" fmla="*/ 216 h 234"/>
                <a:gd name="T40" fmla="*/ 284 w 471"/>
                <a:gd name="T41" fmla="*/ 199 h 234"/>
                <a:gd name="T42" fmla="*/ 278 w 471"/>
                <a:gd name="T43" fmla="*/ 174 h 234"/>
                <a:gd name="T44" fmla="*/ 269 w 471"/>
                <a:gd name="T45" fmla="*/ 155 h 234"/>
                <a:gd name="T46" fmla="*/ 258 w 471"/>
                <a:gd name="T47" fmla="*/ 148 h 234"/>
                <a:gd name="T48" fmla="*/ 246 w 471"/>
                <a:gd name="T49" fmla="*/ 141 h 234"/>
                <a:gd name="T50" fmla="*/ 236 w 471"/>
                <a:gd name="T51" fmla="*/ 133 h 234"/>
                <a:gd name="T52" fmla="*/ 224 w 471"/>
                <a:gd name="T53" fmla="*/ 140 h 234"/>
                <a:gd name="T54" fmla="*/ 207 w 471"/>
                <a:gd name="T55" fmla="*/ 162 h 234"/>
                <a:gd name="T56" fmla="*/ 200 w 471"/>
                <a:gd name="T57" fmla="*/ 177 h 234"/>
                <a:gd name="T58" fmla="*/ 188 w 471"/>
                <a:gd name="T59" fmla="*/ 190 h 234"/>
                <a:gd name="T60" fmla="*/ 167 w 471"/>
                <a:gd name="T61" fmla="*/ 201 h 234"/>
                <a:gd name="T62" fmla="*/ 147 w 471"/>
                <a:gd name="T63" fmla="*/ 213 h 234"/>
                <a:gd name="T64" fmla="*/ 130 w 471"/>
                <a:gd name="T65" fmla="*/ 219 h 234"/>
                <a:gd name="T66" fmla="*/ 114 w 471"/>
                <a:gd name="T67" fmla="*/ 222 h 234"/>
                <a:gd name="T68" fmla="*/ 97 w 471"/>
                <a:gd name="T69" fmla="*/ 221 h 234"/>
                <a:gd name="T70" fmla="*/ 82 w 471"/>
                <a:gd name="T71" fmla="*/ 217 h 234"/>
                <a:gd name="T72" fmla="*/ 63 w 471"/>
                <a:gd name="T73" fmla="*/ 205 h 234"/>
                <a:gd name="T74" fmla="*/ 59 w 471"/>
                <a:gd name="T75" fmla="*/ 197 h 234"/>
                <a:gd name="T76" fmla="*/ 59 w 471"/>
                <a:gd name="T77" fmla="*/ 135 h 234"/>
                <a:gd name="T78" fmla="*/ 0 w 471"/>
                <a:gd name="T79" fmla="*/ 98 h 234"/>
                <a:gd name="T80" fmla="*/ 53 w 471"/>
                <a:gd name="T81" fmla="*/ 80 h 234"/>
                <a:gd name="T82" fmla="*/ 86 w 471"/>
                <a:gd name="T83" fmla="*/ 30 h 234"/>
                <a:gd name="T84" fmla="*/ 133 w 471"/>
                <a:gd name="T85" fmla="*/ 0 h 234"/>
                <a:gd name="T86" fmla="*/ 166 w 471"/>
                <a:gd name="T87" fmla="*/ 42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57" name="Freeform 351"/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5610225" y="2300288"/>
              <a:ext cx="225425" cy="125412"/>
            </a:xfrm>
            <a:custGeom>
              <a:avLst/>
              <a:gdLst>
                <a:gd name="T0" fmla="*/ 106 w 525"/>
                <a:gd name="T1" fmla="*/ 185 h 241"/>
                <a:gd name="T2" fmla="*/ 173 w 525"/>
                <a:gd name="T3" fmla="*/ 148 h 241"/>
                <a:gd name="T4" fmla="*/ 93 w 525"/>
                <a:gd name="T5" fmla="*/ 105 h 241"/>
                <a:gd name="T6" fmla="*/ 47 w 525"/>
                <a:gd name="T7" fmla="*/ 117 h 241"/>
                <a:gd name="T8" fmla="*/ 66 w 525"/>
                <a:gd name="T9" fmla="*/ 61 h 241"/>
                <a:gd name="T10" fmla="*/ 40 w 525"/>
                <a:gd name="T11" fmla="*/ 43 h 241"/>
                <a:gd name="T12" fmla="*/ 112 w 525"/>
                <a:gd name="T13" fmla="*/ 25 h 241"/>
                <a:gd name="T14" fmla="*/ 186 w 525"/>
                <a:gd name="T15" fmla="*/ 0 h 241"/>
                <a:gd name="T16" fmla="*/ 312 w 525"/>
                <a:gd name="T17" fmla="*/ 19 h 241"/>
                <a:gd name="T18" fmla="*/ 439 w 525"/>
                <a:gd name="T19" fmla="*/ 25 h 241"/>
                <a:gd name="T20" fmla="*/ 525 w 525"/>
                <a:gd name="T21" fmla="*/ 55 h 241"/>
                <a:gd name="T22" fmla="*/ 519 w 525"/>
                <a:gd name="T23" fmla="*/ 69 h 241"/>
                <a:gd name="T24" fmla="*/ 510 w 525"/>
                <a:gd name="T25" fmla="*/ 82 h 241"/>
                <a:gd name="T26" fmla="*/ 499 w 525"/>
                <a:gd name="T27" fmla="*/ 92 h 241"/>
                <a:gd name="T28" fmla="*/ 485 w 525"/>
                <a:gd name="T29" fmla="*/ 99 h 241"/>
                <a:gd name="T30" fmla="*/ 442 w 525"/>
                <a:gd name="T31" fmla="*/ 103 h 241"/>
                <a:gd name="T32" fmla="*/ 418 w 525"/>
                <a:gd name="T33" fmla="*/ 107 h 241"/>
                <a:gd name="T34" fmla="*/ 407 w 525"/>
                <a:gd name="T35" fmla="*/ 111 h 241"/>
                <a:gd name="T36" fmla="*/ 399 w 525"/>
                <a:gd name="T37" fmla="*/ 117 h 241"/>
                <a:gd name="T38" fmla="*/ 387 w 525"/>
                <a:gd name="T39" fmla="*/ 136 h 241"/>
                <a:gd name="T40" fmla="*/ 378 w 525"/>
                <a:gd name="T41" fmla="*/ 147 h 241"/>
                <a:gd name="T42" fmla="*/ 365 w 525"/>
                <a:gd name="T43" fmla="*/ 154 h 241"/>
                <a:gd name="T44" fmla="*/ 305 w 525"/>
                <a:gd name="T45" fmla="*/ 166 h 241"/>
                <a:gd name="T46" fmla="*/ 273 w 525"/>
                <a:gd name="T47" fmla="*/ 173 h 241"/>
                <a:gd name="T48" fmla="*/ 260 w 525"/>
                <a:gd name="T49" fmla="*/ 178 h 241"/>
                <a:gd name="T50" fmla="*/ 261 w 525"/>
                <a:gd name="T51" fmla="*/ 192 h 241"/>
                <a:gd name="T52" fmla="*/ 263 w 525"/>
                <a:gd name="T53" fmla="*/ 203 h 241"/>
                <a:gd name="T54" fmla="*/ 273 w 525"/>
                <a:gd name="T55" fmla="*/ 222 h 241"/>
                <a:gd name="T56" fmla="*/ 219 w 525"/>
                <a:gd name="T57" fmla="*/ 228 h 241"/>
                <a:gd name="T58" fmla="*/ 112 w 525"/>
                <a:gd name="T59" fmla="*/ 234 h 241"/>
                <a:gd name="T60" fmla="*/ 20 w 525"/>
                <a:gd name="T61" fmla="*/ 222 h 241"/>
                <a:gd name="T62" fmla="*/ 53 w 525"/>
                <a:gd name="T63" fmla="*/ 166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58" name="Freeform 352"/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5216525" y="2316163"/>
              <a:ext cx="342900" cy="227012"/>
            </a:xfrm>
            <a:custGeom>
              <a:avLst/>
              <a:gdLst>
                <a:gd name="T0" fmla="*/ 768 w 784"/>
                <a:gd name="T1" fmla="*/ 292 h 430"/>
                <a:gd name="T2" fmla="*/ 751 w 784"/>
                <a:gd name="T3" fmla="*/ 293 h 430"/>
                <a:gd name="T4" fmla="*/ 731 w 784"/>
                <a:gd name="T5" fmla="*/ 302 h 430"/>
                <a:gd name="T6" fmla="*/ 723 w 784"/>
                <a:gd name="T7" fmla="*/ 308 h 430"/>
                <a:gd name="T8" fmla="*/ 717 w 784"/>
                <a:gd name="T9" fmla="*/ 332 h 430"/>
                <a:gd name="T10" fmla="*/ 713 w 784"/>
                <a:gd name="T11" fmla="*/ 360 h 430"/>
                <a:gd name="T12" fmla="*/ 704 w 784"/>
                <a:gd name="T13" fmla="*/ 376 h 430"/>
                <a:gd name="T14" fmla="*/ 671 w 784"/>
                <a:gd name="T15" fmla="*/ 402 h 430"/>
                <a:gd name="T16" fmla="*/ 633 w 784"/>
                <a:gd name="T17" fmla="*/ 420 h 430"/>
                <a:gd name="T18" fmla="*/ 612 w 784"/>
                <a:gd name="T19" fmla="*/ 424 h 430"/>
                <a:gd name="T20" fmla="*/ 587 w 784"/>
                <a:gd name="T21" fmla="*/ 429 h 430"/>
                <a:gd name="T22" fmla="*/ 567 w 784"/>
                <a:gd name="T23" fmla="*/ 428 h 430"/>
                <a:gd name="T24" fmla="*/ 545 w 784"/>
                <a:gd name="T25" fmla="*/ 388 h 430"/>
                <a:gd name="T26" fmla="*/ 515 w 784"/>
                <a:gd name="T27" fmla="*/ 344 h 430"/>
                <a:gd name="T28" fmla="*/ 478 w 784"/>
                <a:gd name="T29" fmla="*/ 334 h 430"/>
                <a:gd name="T30" fmla="*/ 448 w 784"/>
                <a:gd name="T31" fmla="*/ 315 h 430"/>
                <a:gd name="T32" fmla="*/ 417 w 784"/>
                <a:gd name="T33" fmla="*/ 294 h 430"/>
                <a:gd name="T34" fmla="*/ 373 w 784"/>
                <a:gd name="T35" fmla="*/ 274 h 430"/>
                <a:gd name="T36" fmla="*/ 306 w 784"/>
                <a:gd name="T37" fmla="*/ 258 h 430"/>
                <a:gd name="T38" fmla="*/ 182 w 784"/>
                <a:gd name="T39" fmla="*/ 283 h 430"/>
                <a:gd name="T40" fmla="*/ 151 w 784"/>
                <a:gd name="T41" fmla="*/ 306 h 430"/>
                <a:gd name="T42" fmla="*/ 127 w 784"/>
                <a:gd name="T43" fmla="*/ 308 h 430"/>
                <a:gd name="T44" fmla="*/ 66 w 784"/>
                <a:gd name="T45" fmla="*/ 252 h 430"/>
                <a:gd name="T46" fmla="*/ 66 w 784"/>
                <a:gd name="T47" fmla="*/ 204 h 430"/>
                <a:gd name="T48" fmla="*/ 40 w 784"/>
                <a:gd name="T49" fmla="*/ 179 h 430"/>
                <a:gd name="T50" fmla="*/ 42 w 784"/>
                <a:gd name="T51" fmla="*/ 199 h 430"/>
                <a:gd name="T52" fmla="*/ 36 w 784"/>
                <a:gd name="T53" fmla="*/ 218 h 430"/>
                <a:gd name="T54" fmla="*/ 30 w 784"/>
                <a:gd name="T55" fmla="*/ 221 h 430"/>
                <a:gd name="T56" fmla="*/ 31 w 784"/>
                <a:gd name="T57" fmla="*/ 203 h 430"/>
                <a:gd name="T58" fmla="*/ 27 w 784"/>
                <a:gd name="T59" fmla="*/ 174 h 430"/>
                <a:gd name="T60" fmla="*/ 33 w 784"/>
                <a:gd name="T61" fmla="*/ 163 h 430"/>
                <a:gd name="T62" fmla="*/ 40 w 784"/>
                <a:gd name="T63" fmla="*/ 152 h 430"/>
                <a:gd name="T64" fmla="*/ 27 w 784"/>
                <a:gd name="T65" fmla="*/ 129 h 430"/>
                <a:gd name="T66" fmla="*/ 7 w 784"/>
                <a:gd name="T67" fmla="*/ 126 h 430"/>
                <a:gd name="T68" fmla="*/ 0 w 784"/>
                <a:gd name="T69" fmla="*/ 117 h 430"/>
                <a:gd name="T70" fmla="*/ 3 w 784"/>
                <a:gd name="T71" fmla="*/ 104 h 430"/>
                <a:gd name="T72" fmla="*/ 11 w 784"/>
                <a:gd name="T73" fmla="*/ 94 h 430"/>
                <a:gd name="T74" fmla="*/ 27 w 784"/>
                <a:gd name="T75" fmla="*/ 92 h 430"/>
                <a:gd name="T76" fmla="*/ 41 w 784"/>
                <a:gd name="T77" fmla="*/ 99 h 430"/>
                <a:gd name="T78" fmla="*/ 57 w 784"/>
                <a:gd name="T79" fmla="*/ 104 h 430"/>
                <a:gd name="T80" fmla="*/ 71 w 784"/>
                <a:gd name="T81" fmla="*/ 92 h 430"/>
                <a:gd name="T82" fmla="*/ 83 w 784"/>
                <a:gd name="T83" fmla="*/ 77 h 430"/>
                <a:gd name="T84" fmla="*/ 87 w 784"/>
                <a:gd name="T85" fmla="*/ 64 h 430"/>
                <a:gd name="T86" fmla="*/ 78 w 784"/>
                <a:gd name="T87" fmla="*/ 55 h 430"/>
                <a:gd name="T88" fmla="*/ 55 w 784"/>
                <a:gd name="T89" fmla="*/ 49 h 430"/>
                <a:gd name="T90" fmla="*/ 47 w 784"/>
                <a:gd name="T91" fmla="*/ 40 h 430"/>
                <a:gd name="T92" fmla="*/ 41 w 784"/>
                <a:gd name="T93" fmla="*/ 28 h 430"/>
                <a:gd name="T94" fmla="*/ 107 w 784"/>
                <a:gd name="T95" fmla="*/ 43 h 430"/>
                <a:gd name="T96" fmla="*/ 219 w 784"/>
                <a:gd name="T97" fmla="*/ 74 h 430"/>
                <a:gd name="T98" fmla="*/ 273 w 784"/>
                <a:gd name="T99" fmla="*/ 0 h 430"/>
                <a:gd name="T100" fmla="*/ 373 w 784"/>
                <a:gd name="T101" fmla="*/ 43 h 430"/>
                <a:gd name="T102" fmla="*/ 465 w 784"/>
                <a:gd name="T103" fmla="*/ 92 h 430"/>
                <a:gd name="T104" fmla="*/ 591 w 784"/>
                <a:gd name="T105" fmla="*/ 210 h 430"/>
                <a:gd name="T106" fmla="*/ 724 w 784"/>
                <a:gd name="T107" fmla="*/ 265 h 430"/>
                <a:gd name="T108" fmla="*/ 778 w 784"/>
                <a:gd name="T109" fmla="*/ 295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59" name="Freeform 353"/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4425950" y="2203450"/>
              <a:ext cx="107950" cy="149225"/>
            </a:xfrm>
            <a:custGeom>
              <a:avLst/>
              <a:gdLst>
                <a:gd name="T0" fmla="*/ 30 w 246"/>
                <a:gd name="T1" fmla="*/ 27 h 284"/>
                <a:gd name="T2" fmla="*/ 28 w 246"/>
                <a:gd name="T3" fmla="*/ 24 h 284"/>
                <a:gd name="T4" fmla="*/ 24 w 246"/>
                <a:gd name="T5" fmla="*/ 17 h 284"/>
                <a:gd name="T6" fmla="*/ 35 w 246"/>
                <a:gd name="T7" fmla="*/ 5 h 284"/>
                <a:gd name="T8" fmla="*/ 67 w 246"/>
                <a:gd name="T9" fmla="*/ 1 h 284"/>
                <a:gd name="T10" fmla="*/ 126 w 246"/>
                <a:gd name="T11" fmla="*/ 12 h 284"/>
                <a:gd name="T12" fmla="*/ 131 w 246"/>
                <a:gd name="T13" fmla="*/ 30 h 284"/>
                <a:gd name="T14" fmla="*/ 139 w 246"/>
                <a:gd name="T15" fmla="*/ 46 h 284"/>
                <a:gd name="T16" fmla="*/ 151 w 246"/>
                <a:gd name="T17" fmla="*/ 57 h 284"/>
                <a:gd name="T18" fmla="*/ 165 w 246"/>
                <a:gd name="T19" fmla="*/ 67 h 284"/>
                <a:gd name="T20" fmla="*/ 191 w 246"/>
                <a:gd name="T21" fmla="*/ 87 h 284"/>
                <a:gd name="T22" fmla="*/ 203 w 246"/>
                <a:gd name="T23" fmla="*/ 101 h 284"/>
                <a:gd name="T24" fmla="*/ 212 w 246"/>
                <a:gd name="T25" fmla="*/ 117 h 284"/>
                <a:gd name="T26" fmla="*/ 226 w 246"/>
                <a:gd name="T27" fmla="*/ 117 h 284"/>
                <a:gd name="T28" fmla="*/ 221 w 246"/>
                <a:gd name="T29" fmla="*/ 124 h 284"/>
                <a:gd name="T30" fmla="*/ 221 w 246"/>
                <a:gd name="T31" fmla="*/ 129 h 284"/>
                <a:gd name="T32" fmla="*/ 228 w 246"/>
                <a:gd name="T33" fmla="*/ 140 h 284"/>
                <a:gd name="T34" fmla="*/ 239 w 246"/>
                <a:gd name="T35" fmla="*/ 154 h 284"/>
                <a:gd name="T36" fmla="*/ 244 w 246"/>
                <a:gd name="T37" fmla="*/ 162 h 284"/>
                <a:gd name="T38" fmla="*/ 246 w 246"/>
                <a:gd name="T39" fmla="*/ 173 h 284"/>
                <a:gd name="T40" fmla="*/ 241 w 246"/>
                <a:gd name="T41" fmla="*/ 184 h 284"/>
                <a:gd name="T42" fmla="*/ 233 w 246"/>
                <a:gd name="T43" fmla="*/ 192 h 284"/>
                <a:gd name="T44" fmla="*/ 223 w 246"/>
                <a:gd name="T45" fmla="*/ 198 h 284"/>
                <a:gd name="T46" fmla="*/ 220 w 246"/>
                <a:gd name="T47" fmla="*/ 204 h 284"/>
                <a:gd name="T48" fmla="*/ 189 w 246"/>
                <a:gd name="T49" fmla="*/ 215 h 284"/>
                <a:gd name="T50" fmla="*/ 164 w 246"/>
                <a:gd name="T51" fmla="*/ 230 h 284"/>
                <a:gd name="T52" fmla="*/ 113 w 246"/>
                <a:gd name="T53" fmla="*/ 265 h 284"/>
                <a:gd name="T54" fmla="*/ 88 w 246"/>
                <a:gd name="T55" fmla="*/ 231 h 284"/>
                <a:gd name="T56" fmla="*/ 79 w 246"/>
                <a:gd name="T57" fmla="*/ 220 h 284"/>
                <a:gd name="T58" fmla="*/ 72 w 246"/>
                <a:gd name="T59" fmla="*/ 216 h 284"/>
                <a:gd name="T60" fmla="*/ 60 w 246"/>
                <a:gd name="T61" fmla="*/ 217 h 284"/>
                <a:gd name="T62" fmla="*/ 54 w 246"/>
                <a:gd name="T63" fmla="*/ 221 h 284"/>
                <a:gd name="T64" fmla="*/ 49 w 246"/>
                <a:gd name="T65" fmla="*/ 228 h 284"/>
                <a:gd name="T66" fmla="*/ 48 w 246"/>
                <a:gd name="T67" fmla="*/ 236 h 284"/>
                <a:gd name="T68" fmla="*/ 45 w 246"/>
                <a:gd name="T69" fmla="*/ 257 h 284"/>
                <a:gd name="T70" fmla="*/ 41 w 246"/>
                <a:gd name="T71" fmla="*/ 270 h 284"/>
                <a:gd name="T72" fmla="*/ 33 w 246"/>
                <a:gd name="T73" fmla="*/ 284 h 284"/>
                <a:gd name="T74" fmla="*/ 26 w 246"/>
                <a:gd name="T75" fmla="*/ 243 h 284"/>
                <a:gd name="T76" fmla="*/ 17 w 246"/>
                <a:gd name="T77" fmla="*/ 227 h 284"/>
                <a:gd name="T78" fmla="*/ 11 w 246"/>
                <a:gd name="T79" fmla="*/ 221 h 284"/>
                <a:gd name="T80" fmla="*/ 0 w 246"/>
                <a:gd name="T81" fmla="*/ 216 h 284"/>
                <a:gd name="T82" fmla="*/ 1 w 246"/>
                <a:gd name="T83" fmla="*/ 204 h 284"/>
                <a:gd name="T84" fmla="*/ 4 w 246"/>
                <a:gd name="T85" fmla="*/ 193 h 284"/>
                <a:gd name="T86" fmla="*/ 15 w 246"/>
                <a:gd name="T87" fmla="*/ 176 h 284"/>
                <a:gd name="T88" fmla="*/ 31 w 246"/>
                <a:gd name="T89" fmla="*/ 161 h 284"/>
                <a:gd name="T90" fmla="*/ 46 w 246"/>
                <a:gd name="T91" fmla="*/ 141 h 284"/>
                <a:gd name="T92" fmla="*/ 33 w 246"/>
                <a:gd name="T93" fmla="*/ 4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60" name="Freeform 354"/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4473575" y="2311400"/>
              <a:ext cx="68263" cy="60325"/>
            </a:xfrm>
            <a:custGeom>
              <a:avLst/>
              <a:gdLst>
                <a:gd name="T0" fmla="*/ 114 w 160"/>
                <a:gd name="T1" fmla="*/ 0 h 117"/>
                <a:gd name="T2" fmla="*/ 114 w 160"/>
                <a:gd name="T3" fmla="*/ 9 h 117"/>
                <a:gd name="T4" fmla="*/ 114 w 160"/>
                <a:gd name="T5" fmla="*/ 18 h 117"/>
                <a:gd name="T6" fmla="*/ 115 w 160"/>
                <a:gd name="T7" fmla="*/ 25 h 117"/>
                <a:gd name="T8" fmla="*/ 117 w 160"/>
                <a:gd name="T9" fmla="*/ 32 h 117"/>
                <a:gd name="T10" fmla="*/ 119 w 160"/>
                <a:gd name="T11" fmla="*/ 34 h 117"/>
                <a:gd name="T12" fmla="*/ 121 w 160"/>
                <a:gd name="T13" fmla="*/ 37 h 117"/>
                <a:gd name="T14" fmla="*/ 123 w 160"/>
                <a:gd name="T15" fmla="*/ 38 h 117"/>
                <a:gd name="T16" fmla="*/ 127 w 160"/>
                <a:gd name="T17" fmla="*/ 39 h 117"/>
                <a:gd name="T18" fmla="*/ 131 w 160"/>
                <a:gd name="T19" fmla="*/ 40 h 117"/>
                <a:gd name="T20" fmla="*/ 135 w 160"/>
                <a:gd name="T21" fmla="*/ 39 h 117"/>
                <a:gd name="T22" fmla="*/ 140 w 160"/>
                <a:gd name="T23" fmla="*/ 38 h 117"/>
                <a:gd name="T24" fmla="*/ 146 w 160"/>
                <a:gd name="T25" fmla="*/ 36 h 117"/>
                <a:gd name="T26" fmla="*/ 149 w 160"/>
                <a:gd name="T27" fmla="*/ 43 h 117"/>
                <a:gd name="T28" fmla="*/ 153 w 160"/>
                <a:gd name="T29" fmla="*/ 52 h 117"/>
                <a:gd name="T30" fmla="*/ 157 w 160"/>
                <a:gd name="T31" fmla="*/ 64 h 117"/>
                <a:gd name="T32" fmla="*/ 160 w 160"/>
                <a:gd name="T33" fmla="*/ 74 h 117"/>
                <a:gd name="T34" fmla="*/ 133 w 160"/>
                <a:gd name="T35" fmla="*/ 88 h 117"/>
                <a:gd name="T36" fmla="*/ 106 w 160"/>
                <a:gd name="T37" fmla="*/ 102 h 117"/>
                <a:gd name="T38" fmla="*/ 92 w 160"/>
                <a:gd name="T39" fmla="*/ 107 h 117"/>
                <a:gd name="T40" fmla="*/ 76 w 160"/>
                <a:gd name="T41" fmla="*/ 113 h 117"/>
                <a:gd name="T42" fmla="*/ 62 w 160"/>
                <a:gd name="T43" fmla="*/ 116 h 117"/>
                <a:gd name="T44" fmla="*/ 47 w 160"/>
                <a:gd name="T45" fmla="*/ 117 h 117"/>
                <a:gd name="T46" fmla="*/ 32 w 160"/>
                <a:gd name="T47" fmla="*/ 99 h 117"/>
                <a:gd name="T48" fmla="*/ 21 w 160"/>
                <a:gd name="T49" fmla="*/ 83 h 117"/>
                <a:gd name="T50" fmla="*/ 10 w 160"/>
                <a:gd name="T51" fmla="*/ 69 h 117"/>
                <a:gd name="T52" fmla="*/ 0 w 160"/>
                <a:gd name="T53" fmla="*/ 55 h 117"/>
                <a:gd name="T54" fmla="*/ 13 w 160"/>
                <a:gd name="T55" fmla="*/ 48 h 117"/>
                <a:gd name="T56" fmla="*/ 41 w 160"/>
                <a:gd name="T57" fmla="*/ 32 h 117"/>
                <a:gd name="T58" fmla="*/ 60 w 160"/>
                <a:gd name="T59" fmla="*/ 23 h 117"/>
                <a:gd name="T60" fmla="*/ 78 w 160"/>
                <a:gd name="T61" fmla="*/ 14 h 117"/>
                <a:gd name="T62" fmla="*/ 97 w 160"/>
                <a:gd name="T63" fmla="*/ 6 h 117"/>
                <a:gd name="T64" fmla="*/ 114 w 160"/>
                <a:gd name="T6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61" name="Freeform 355"/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4557713" y="2935288"/>
              <a:ext cx="411162" cy="611187"/>
            </a:xfrm>
            <a:custGeom>
              <a:avLst/>
              <a:gdLst>
                <a:gd name="T0" fmla="*/ 742 w 943"/>
                <a:gd name="T1" fmla="*/ 5 h 1172"/>
                <a:gd name="T2" fmla="*/ 765 w 943"/>
                <a:gd name="T3" fmla="*/ 23 h 1172"/>
                <a:gd name="T4" fmla="*/ 803 w 943"/>
                <a:gd name="T5" fmla="*/ 30 h 1172"/>
                <a:gd name="T6" fmla="*/ 814 w 943"/>
                <a:gd name="T7" fmla="*/ 55 h 1172"/>
                <a:gd name="T8" fmla="*/ 835 w 943"/>
                <a:gd name="T9" fmla="*/ 109 h 1172"/>
                <a:gd name="T10" fmla="*/ 837 w 943"/>
                <a:gd name="T11" fmla="*/ 187 h 1172"/>
                <a:gd name="T12" fmla="*/ 857 w 943"/>
                <a:gd name="T13" fmla="*/ 243 h 1172"/>
                <a:gd name="T14" fmla="*/ 922 w 943"/>
                <a:gd name="T15" fmla="*/ 292 h 1172"/>
                <a:gd name="T16" fmla="*/ 879 w 943"/>
                <a:gd name="T17" fmla="*/ 361 h 1172"/>
                <a:gd name="T18" fmla="*/ 851 w 943"/>
                <a:gd name="T19" fmla="*/ 410 h 1172"/>
                <a:gd name="T20" fmla="*/ 809 w 943"/>
                <a:gd name="T21" fmla="*/ 635 h 1172"/>
                <a:gd name="T22" fmla="*/ 770 w 943"/>
                <a:gd name="T23" fmla="*/ 677 h 1172"/>
                <a:gd name="T24" fmla="*/ 763 w 943"/>
                <a:gd name="T25" fmla="*/ 721 h 1172"/>
                <a:gd name="T26" fmla="*/ 745 w 943"/>
                <a:gd name="T27" fmla="*/ 735 h 1172"/>
                <a:gd name="T28" fmla="*/ 723 w 943"/>
                <a:gd name="T29" fmla="*/ 798 h 1172"/>
                <a:gd name="T30" fmla="*/ 692 w 943"/>
                <a:gd name="T31" fmla="*/ 877 h 1172"/>
                <a:gd name="T32" fmla="*/ 662 w 943"/>
                <a:gd name="T33" fmla="*/ 903 h 1172"/>
                <a:gd name="T34" fmla="*/ 664 w 943"/>
                <a:gd name="T35" fmla="*/ 934 h 1172"/>
                <a:gd name="T36" fmla="*/ 686 w 943"/>
                <a:gd name="T37" fmla="*/ 939 h 1172"/>
                <a:gd name="T38" fmla="*/ 709 w 943"/>
                <a:gd name="T39" fmla="*/ 950 h 1172"/>
                <a:gd name="T40" fmla="*/ 742 w 943"/>
                <a:gd name="T41" fmla="*/ 971 h 1172"/>
                <a:gd name="T42" fmla="*/ 756 w 943"/>
                <a:gd name="T43" fmla="*/ 1007 h 1172"/>
                <a:gd name="T44" fmla="*/ 775 w 943"/>
                <a:gd name="T45" fmla="*/ 1043 h 1172"/>
                <a:gd name="T46" fmla="*/ 803 w 943"/>
                <a:gd name="T47" fmla="*/ 1053 h 1172"/>
                <a:gd name="T48" fmla="*/ 809 w 943"/>
                <a:gd name="T49" fmla="*/ 1094 h 1172"/>
                <a:gd name="T50" fmla="*/ 718 w 943"/>
                <a:gd name="T51" fmla="*/ 1115 h 1172"/>
                <a:gd name="T52" fmla="*/ 687 w 943"/>
                <a:gd name="T53" fmla="*/ 1157 h 1172"/>
                <a:gd name="T54" fmla="*/ 598 w 943"/>
                <a:gd name="T55" fmla="*/ 1170 h 1172"/>
                <a:gd name="T56" fmla="*/ 515 w 943"/>
                <a:gd name="T57" fmla="*/ 1158 h 1172"/>
                <a:gd name="T58" fmla="*/ 464 w 943"/>
                <a:gd name="T59" fmla="*/ 1123 h 1172"/>
                <a:gd name="T60" fmla="*/ 390 w 943"/>
                <a:gd name="T61" fmla="*/ 1125 h 1172"/>
                <a:gd name="T62" fmla="*/ 319 w 943"/>
                <a:gd name="T63" fmla="*/ 1120 h 1172"/>
                <a:gd name="T64" fmla="*/ 297 w 943"/>
                <a:gd name="T65" fmla="*/ 1104 h 1172"/>
                <a:gd name="T66" fmla="*/ 294 w 943"/>
                <a:gd name="T67" fmla="*/ 1075 h 1172"/>
                <a:gd name="T68" fmla="*/ 274 w 943"/>
                <a:gd name="T69" fmla="*/ 1029 h 1172"/>
                <a:gd name="T70" fmla="*/ 216 w 943"/>
                <a:gd name="T71" fmla="*/ 974 h 1172"/>
                <a:gd name="T72" fmla="*/ 193 w 943"/>
                <a:gd name="T73" fmla="*/ 925 h 1172"/>
                <a:gd name="T74" fmla="*/ 152 w 943"/>
                <a:gd name="T75" fmla="*/ 903 h 1172"/>
                <a:gd name="T76" fmla="*/ 120 w 943"/>
                <a:gd name="T77" fmla="*/ 846 h 1172"/>
                <a:gd name="T78" fmla="*/ 97 w 943"/>
                <a:gd name="T79" fmla="*/ 788 h 1172"/>
                <a:gd name="T80" fmla="*/ 65 w 943"/>
                <a:gd name="T81" fmla="*/ 758 h 1172"/>
                <a:gd name="T82" fmla="*/ 33 w 943"/>
                <a:gd name="T83" fmla="*/ 676 h 1172"/>
                <a:gd name="T84" fmla="*/ 4 w 943"/>
                <a:gd name="T85" fmla="*/ 611 h 1172"/>
                <a:gd name="T86" fmla="*/ 18 w 943"/>
                <a:gd name="T87" fmla="*/ 577 h 1172"/>
                <a:gd name="T88" fmla="*/ 29 w 943"/>
                <a:gd name="T89" fmla="*/ 521 h 1172"/>
                <a:gd name="T90" fmla="*/ 64 w 943"/>
                <a:gd name="T91" fmla="*/ 474 h 1172"/>
                <a:gd name="T92" fmla="*/ 113 w 943"/>
                <a:gd name="T93" fmla="*/ 222 h 1172"/>
                <a:gd name="T94" fmla="*/ 123 w 943"/>
                <a:gd name="T95" fmla="*/ 179 h 1172"/>
                <a:gd name="T96" fmla="*/ 153 w 943"/>
                <a:gd name="T97" fmla="*/ 171 h 1172"/>
                <a:gd name="T98" fmla="*/ 160 w 943"/>
                <a:gd name="T99" fmla="*/ 122 h 1172"/>
                <a:gd name="T100" fmla="*/ 159 w 943"/>
                <a:gd name="T101" fmla="*/ 67 h 1172"/>
                <a:gd name="T102" fmla="*/ 679 w 943"/>
                <a:gd name="T103" fmla="*/ 69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62" name="Freeform 356"/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5041900" y="3275013"/>
              <a:ext cx="244475" cy="431800"/>
            </a:xfrm>
            <a:custGeom>
              <a:avLst/>
              <a:gdLst>
                <a:gd name="T0" fmla="*/ 98 w 556"/>
                <a:gd name="T1" fmla="*/ 62 h 819"/>
                <a:gd name="T2" fmla="*/ 112 w 556"/>
                <a:gd name="T3" fmla="*/ 56 h 819"/>
                <a:gd name="T4" fmla="*/ 129 w 556"/>
                <a:gd name="T5" fmla="*/ 69 h 819"/>
                <a:gd name="T6" fmla="*/ 149 w 556"/>
                <a:gd name="T7" fmla="*/ 85 h 819"/>
                <a:gd name="T8" fmla="*/ 171 w 556"/>
                <a:gd name="T9" fmla="*/ 92 h 819"/>
                <a:gd name="T10" fmla="*/ 215 w 556"/>
                <a:gd name="T11" fmla="*/ 88 h 819"/>
                <a:gd name="T12" fmla="*/ 257 w 556"/>
                <a:gd name="T13" fmla="*/ 82 h 819"/>
                <a:gd name="T14" fmla="*/ 291 w 556"/>
                <a:gd name="T15" fmla="*/ 79 h 819"/>
                <a:gd name="T16" fmla="*/ 301 w 556"/>
                <a:gd name="T17" fmla="*/ 74 h 819"/>
                <a:gd name="T18" fmla="*/ 301 w 556"/>
                <a:gd name="T19" fmla="*/ 68 h 819"/>
                <a:gd name="T20" fmla="*/ 355 w 556"/>
                <a:gd name="T21" fmla="*/ 63 h 819"/>
                <a:gd name="T22" fmla="*/ 434 w 556"/>
                <a:gd name="T23" fmla="*/ 45 h 819"/>
                <a:gd name="T24" fmla="*/ 479 w 556"/>
                <a:gd name="T25" fmla="*/ 28 h 819"/>
                <a:gd name="T26" fmla="*/ 514 w 556"/>
                <a:gd name="T27" fmla="*/ 8 h 819"/>
                <a:gd name="T28" fmla="*/ 547 w 556"/>
                <a:gd name="T29" fmla="*/ 31 h 819"/>
                <a:gd name="T30" fmla="*/ 555 w 556"/>
                <a:gd name="T31" fmla="*/ 57 h 819"/>
                <a:gd name="T32" fmla="*/ 552 w 556"/>
                <a:gd name="T33" fmla="*/ 113 h 819"/>
                <a:gd name="T34" fmla="*/ 532 w 556"/>
                <a:gd name="T35" fmla="*/ 174 h 819"/>
                <a:gd name="T36" fmla="*/ 502 w 556"/>
                <a:gd name="T37" fmla="*/ 231 h 819"/>
                <a:gd name="T38" fmla="*/ 447 w 556"/>
                <a:gd name="T39" fmla="*/ 321 h 819"/>
                <a:gd name="T40" fmla="*/ 423 w 556"/>
                <a:gd name="T41" fmla="*/ 375 h 819"/>
                <a:gd name="T42" fmla="*/ 410 w 556"/>
                <a:gd name="T43" fmla="*/ 415 h 819"/>
                <a:gd name="T44" fmla="*/ 379 w 556"/>
                <a:gd name="T45" fmla="*/ 473 h 819"/>
                <a:gd name="T46" fmla="*/ 330 w 556"/>
                <a:gd name="T47" fmla="*/ 531 h 819"/>
                <a:gd name="T48" fmla="*/ 288 w 556"/>
                <a:gd name="T49" fmla="*/ 566 h 819"/>
                <a:gd name="T50" fmla="*/ 239 w 556"/>
                <a:gd name="T51" fmla="*/ 600 h 819"/>
                <a:gd name="T52" fmla="*/ 168 w 556"/>
                <a:gd name="T53" fmla="*/ 651 h 819"/>
                <a:gd name="T54" fmla="*/ 143 w 556"/>
                <a:gd name="T55" fmla="*/ 680 h 819"/>
                <a:gd name="T56" fmla="*/ 131 w 556"/>
                <a:gd name="T57" fmla="*/ 700 h 819"/>
                <a:gd name="T58" fmla="*/ 116 w 556"/>
                <a:gd name="T59" fmla="*/ 717 h 819"/>
                <a:gd name="T60" fmla="*/ 71 w 556"/>
                <a:gd name="T61" fmla="*/ 745 h 819"/>
                <a:gd name="T62" fmla="*/ 19 w 556"/>
                <a:gd name="T63" fmla="*/ 801 h 819"/>
                <a:gd name="T64" fmla="*/ 2 w 556"/>
                <a:gd name="T65" fmla="*/ 564 h 819"/>
                <a:gd name="T66" fmla="*/ 3 w 556"/>
                <a:gd name="T67" fmla="*/ 554 h 819"/>
                <a:gd name="T68" fmla="*/ 27 w 556"/>
                <a:gd name="T69" fmla="*/ 533 h 819"/>
                <a:gd name="T70" fmla="*/ 42 w 556"/>
                <a:gd name="T71" fmla="*/ 516 h 819"/>
                <a:gd name="T72" fmla="*/ 60 w 556"/>
                <a:gd name="T73" fmla="*/ 497 h 819"/>
                <a:gd name="T74" fmla="*/ 111 w 556"/>
                <a:gd name="T75" fmla="*/ 480 h 819"/>
                <a:gd name="T76" fmla="*/ 119 w 556"/>
                <a:gd name="T77" fmla="*/ 470 h 819"/>
                <a:gd name="T78" fmla="*/ 129 w 556"/>
                <a:gd name="T79" fmla="*/ 452 h 819"/>
                <a:gd name="T80" fmla="*/ 152 w 556"/>
                <a:gd name="T81" fmla="*/ 440 h 819"/>
                <a:gd name="T82" fmla="*/ 174 w 556"/>
                <a:gd name="T83" fmla="*/ 439 h 819"/>
                <a:gd name="T84" fmla="*/ 196 w 556"/>
                <a:gd name="T85" fmla="*/ 439 h 819"/>
                <a:gd name="T86" fmla="*/ 228 w 556"/>
                <a:gd name="T87" fmla="*/ 429 h 819"/>
                <a:gd name="T88" fmla="*/ 251 w 556"/>
                <a:gd name="T89" fmla="*/ 405 h 819"/>
                <a:gd name="T90" fmla="*/ 265 w 556"/>
                <a:gd name="T91" fmla="*/ 379 h 819"/>
                <a:gd name="T92" fmla="*/ 296 w 556"/>
                <a:gd name="T93" fmla="*/ 347 h 819"/>
                <a:gd name="T94" fmla="*/ 354 w 556"/>
                <a:gd name="T95" fmla="*/ 293 h 819"/>
                <a:gd name="T96" fmla="*/ 377 w 556"/>
                <a:gd name="T97" fmla="*/ 266 h 819"/>
                <a:gd name="T98" fmla="*/ 324 w 556"/>
                <a:gd name="T99" fmla="*/ 246 h 819"/>
                <a:gd name="T100" fmla="*/ 257 w 556"/>
                <a:gd name="T101" fmla="*/ 228 h 819"/>
                <a:gd name="T102" fmla="*/ 184 w 556"/>
                <a:gd name="T103" fmla="*/ 209 h 819"/>
                <a:gd name="T104" fmla="*/ 149 w 556"/>
                <a:gd name="T105" fmla="*/ 187 h 819"/>
                <a:gd name="T106" fmla="*/ 112 w 556"/>
                <a:gd name="T107" fmla="*/ 154 h 819"/>
                <a:gd name="T108" fmla="*/ 89 w 556"/>
                <a:gd name="T109" fmla="*/ 121 h 819"/>
                <a:gd name="T110" fmla="*/ 77 w 556"/>
                <a:gd name="T111" fmla="*/ 80 h 819"/>
                <a:gd name="T112" fmla="*/ 65 w 556"/>
                <a:gd name="T113" fmla="*/ 87 h 819"/>
                <a:gd name="T114" fmla="*/ 84 w 556"/>
                <a:gd name="T115" fmla="*/ 68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63" name="Freeform 357"/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5049838" y="3262313"/>
              <a:ext cx="38100" cy="58737"/>
            </a:xfrm>
            <a:custGeom>
              <a:avLst/>
              <a:gdLst>
                <a:gd name="T0" fmla="*/ 59 w 86"/>
                <a:gd name="T1" fmla="*/ 0 h 97"/>
                <a:gd name="T2" fmla="*/ 56 w 86"/>
                <a:gd name="T3" fmla="*/ 2 h 97"/>
                <a:gd name="T4" fmla="*/ 52 w 86"/>
                <a:gd name="T5" fmla="*/ 3 h 97"/>
                <a:gd name="T6" fmla="*/ 46 w 86"/>
                <a:gd name="T7" fmla="*/ 3 h 97"/>
                <a:gd name="T8" fmla="*/ 40 w 86"/>
                <a:gd name="T9" fmla="*/ 3 h 97"/>
                <a:gd name="T10" fmla="*/ 33 w 86"/>
                <a:gd name="T11" fmla="*/ 3 h 97"/>
                <a:gd name="T12" fmla="*/ 27 w 86"/>
                <a:gd name="T13" fmla="*/ 3 h 97"/>
                <a:gd name="T14" fmla="*/ 23 w 86"/>
                <a:gd name="T15" fmla="*/ 4 h 97"/>
                <a:gd name="T16" fmla="*/ 20 w 86"/>
                <a:gd name="T17" fmla="*/ 6 h 97"/>
                <a:gd name="T18" fmla="*/ 16 w 86"/>
                <a:gd name="T19" fmla="*/ 9 h 97"/>
                <a:gd name="T20" fmla="*/ 13 w 86"/>
                <a:gd name="T21" fmla="*/ 12 h 97"/>
                <a:gd name="T22" fmla="*/ 11 w 86"/>
                <a:gd name="T23" fmla="*/ 15 h 97"/>
                <a:gd name="T24" fmla="*/ 8 w 86"/>
                <a:gd name="T25" fmla="*/ 20 h 97"/>
                <a:gd name="T26" fmla="*/ 4 w 86"/>
                <a:gd name="T27" fmla="*/ 29 h 97"/>
                <a:gd name="T28" fmla="*/ 2 w 86"/>
                <a:gd name="T29" fmla="*/ 38 h 97"/>
                <a:gd name="T30" fmla="*/ 0 w 86"/>
                <a:gd name="T31" fmla="*/ 57 h 97"/>
                <a:gd name="T32" fmla="*/ 0 w 86"/>
                <a:gd name="T33" fmla="*/ 75 h 97"/>
                <a:gd name="T34" fmla="*/ 0 w 86"/>
                <a:gd name="T35" fmla="*/ 81 h 97"/>
                <a:gd name="T36" fmla="*/ 1 w 86"/>
                <a:gd name="T37" fmla="*/ 86 h 97"/>
                <a:gd name="T38" fmla="*/ 3 w 86"/>
                <a:gd name="T39" fmla="*/ 90 h 97"/>
                <a:gd name="T40" fmla="*/ 7 w 86"/>
                <a:gd name="T41" fmla="*/ 93 h 97"/>
                <a:gd name="T42" fmla="*/ 10 w 86"/>
                <a:gd name="T43" fmla="*/ 95 h 97"/>
                <a:gd name="T44" fmla="*/ 13 w 86"/>
                <a:gd name="T45" fmla="*/ 96 h 97"/>
                <a:gd name="T46" fmla="*/ 18 w 86"/>
                <a:gd name="T47" fmla="*/ 97 h 97"/>
                <a:gd name="T48" fmla="*/ 21 w 86"/>
                <a:gd name="T49" fmla="*/ 97 h 97"/>
                <a:gd name="T50" fmla="*/ 40 w 86"/>
                <a:gd name="T51" fmla="*/ 95 h 97"/>
                <a:gd name="T52" fmla="*/ 53 w 86"/>
                <a:gd name="T53" fmla="*/ 93 h 97"/>
                <a:gd name="T54" fmla="*/ 86 w 86"/>
                <a:gd name="T55" fmla="*/ 68 h 97"/>
                <a:gd name="T56" fmla="*/ 59 w 86"/>
                <a:gd name="T5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64" name="Freeform 358"/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4848225" y="3173413"/>
              <a:ext cx="363538" cy="376237"/>
            </a:xfrm>
            <a:custGeom>
              <a:avLst/>
              <a:gdLst>
                <a:gd name="T0" fmla="*/ 182 w 845"/>
                <a:gd name="T1" fmla="*/ 36 h 720"/>
                <a:gd name="T2" fmla="*/ 205 w 845"/>
                <a:gd name="T3" fmla="*/ 28 h 720"/>
                <a:gd name="T4" fmla="*/ 247 w 845"/>
                <a:gd name="T5" fmla="*/ 0 h 720"/>
                <a:gd name="T6" fmla="*/ 273 w 845"/>
                <a:gd name="T7" fmla="*/ 12 h 720"/>
                <a:gd name="T8" fmla="*/ 327 w 845"/>
                <a:gd name="T9" fmla="*/ 37 h 720"/>
                <a:gd name="T10" fmla="*/ 380 w 845"/>
                <a:gd name="T11" fmla="*/ 67 h 720"/>
                <a:gd name="T12" fmla="*/ 426 w 845"/>
                <a:gd name="T13" fmla="*/ 98 h 720"/>
                <a:gd name="T14" fmla="*/ 442 w 845"/>
                <a:gd name="T15" fmla="*/ 125 h 720"/>
                <a:gd name="T16" fmla="*/ 443 w 845"/>
                <a:gd name="T17" fmla="*/ 140 h 720"/>
                <a:gd name="T18" fmla="*/ 458 w 845"/>
                <a:gd name="T19" fmla="*/ 147 h 720"/>
                <a:gd name="T20" fmla="*/ 499 w 845"/>
                <a:gd name="T21" fmla="*/ 178 h 720"/>
                <a:gd name="T22" fmla="*/ 506 w 845"/>
                <a:gd name="T23" fmla="*/ 172 h 720"/>
                <a:gd name="T24" fmla="*/ 488 w 845"/>
                <a:gd name="T25" fmla="*/ 184 h 720"/>
                <a:gd name="T26" fmla="*/ 481 w 845"/>
                <a:gd name="T27" fmla="*/ 202 h 720"/>
                <a:gd name="T28" fmla="*/ 481 w 845"/>
                <a:gd name="T29" fmla="*/ 252 h 720"/>
                <a:gd name="T30" fmla="*/ 493 w 845"/>
                <a:gd name="T31" fmla="*/ 264 h 720"/>
                <a:gd name="T32" fmla="*/ 526 w 845"/>
                <a:gd name="T33" fmla="*/ 265 h 720"/>
                <a:gd name="T34" fmla="*/ 545 w 845"/>
                <a:gd name="T35" fmla="*/ 319 h 720"/>
                <a:gd name="T36" fmla="*/ 583 w 845"/>
                <a:gd name="T37" fmla="*/ 361 h 720"/>
                <a:gd name="T38" fmla="*/ 645 w 845"/>
                <a:gd name="T39" fmla="*/ 400 h 720"/>
                <a:gd name="T40" fmla="*/ 738 w 845"/>
                <a:gd name="T41" fmla="*/ 430 h 720"/>
                <a:gd name="T42" fmla="*/ 845 w 845"/>
                <a:gd name="T43" fmla="*/ 449 h 720"/>
                <a:gd name="T44" fmla="*/ 811 w 845"/>
                <a:gd name="T45" fmla="*/ 482 h 720"/>
                <a:gd name="T46" fmla="*/ 731 w 845"/>
                <a:gd name="T47" fmla="*/ 547 h 720"/>
                <a:gd name="T48" fmla="*/ 712 w 845"/>
                <a:gd name="T49" fmla="*/ 579 h 720"/>
                <a:gd name="T50" fmla="*/ 697 w 845"/>
                <a:gd name="T51" fmla="*/ 617 h 720"/>
                <a:gd name="T52" fmla="*/ 674 w 845"/>
                <a:gd name="T53" fmla="*/ 629 h 720"/>
                <a:gd name="T54" fmla="*/ 580 w 845"/>
                <a:gd name="T55" fmla="*/ 655 h 720"/>
                <a:gd name="T56" fmla="*/ 559 w 845"/>
                <a:gd name="T57" fmla="*/ 671 h 720"/>
                <a:gd name="T58" fmla="*/ 525 w 845"/>
                <a:gd name="T59" fmla="*/ 681 h 720"/>
                <a:gd name="T60" fmla="*/ 482 w 845"/>
                <a:gd name="T61" fmla="*/ 693 h 720"/>
                <a:gd name="T62" fmla="*/ 461 w 845"/>
                <a:gd name="T63" fmla="*/ 680 h 720"/>
                <a:gd name="T64" fmla="*/ 427 w 845"/>
                <a:gd name="T65" fmla="*/ 679 h 720"/>
                <a:gd name="T66" fmla="*/ 405 w 845"/>
                <a:gd name="T67" fmla="*/ 699 h 720"/>
                <a:gd name="T68" fmla="*/ 390 w 845"/>
                <a:gd name="T69" fmla="*/ 714 h 720"/>
                <a:gd name="T70" fmla="*/ 360 w 845"/>
                <a:gd name="T71" fmla="*/ 720 h 720"/>
                <a:gd name="T72" fmla="*/ 318 w 845"/>
                <a:gd name="T73" fmla="*/ 714 h 720"/>
                <a:gd name="T74" fmla="*/ 289 w 845"/>
                <a:gd name="T75" fmla="*/ 698 h 720"/>
                <a:gd name="T76" fmla="*/ 246 w 845"/>
                <a:gd name="T77" fmla="*/ 671 h 720"/>
                <a:gd name="T78" fmla="*/ 181 w 845"/>
                <a:gd name="T79" fmla="*/ 661 h 720"/>
                <a:gd name="T80" fmla="*/ 140 w 845"/>
                <a:gd name="T81" fmla="*/ 653 h 720"/>
                <a:gd name="T82" fmla="*/ 151 w 845"/>
                <a:gd name="T83" fmla="*/ 614 h 720"/>
                <a:gd name="T84" fmla="*/ 127 w 845"/>
                <a:gd name="T85" fmla="*/ 596 h 720"/>
                <a:gd name="T86" fmla="*/ 108 w 845"/>
                <a:gd name="T87" fmla="*/ 583 h 720"/>
                <a:gd name="T88" fmla="*/ 93 w 845"/>
                <a:gd name="T89" fmla="*/ 551 h 720"/>
                <a:gd name="T90" fmla="*/ 77 w 845"/>
                <a:gd name="T91" fmla="*/ 511 h 720"/>
                <a:gd name="T92" fmla="*/ 49 w 845"/>
                <a:gd name="T93" fmla="*/ 489 h 720"/>
                <a:gd name="T94" fmla="*/ 16 w 845"/>
                <a:gd name="T95" fmla="*/ 477 h 720"/>
                <a:gd name="T96" fmla="*/ 5 w 845"/>
                <a:gd name="T97" fmla="*/ 472 h 720"/>
                <a:gd name="T98" fmla="*/ 2 w 845"/>
                <a:gd name="T99" fmla="*/ 448 h 720"/>
                <a:gd name="T100" fmla="*/ 21 w 845"/>
                <a:gd name="T101" fmla="*/ 422 h 720"/>
                <a:gd name="T102" fmla="*/ 55 w 845"/>
                <a:gd name="T103" fmla="*/ 413 h 720"/>
                <a:gd name="T104" fmla="*/ 67 w 845"/>
                <a:gd name="T105" fmla="*/ 321 h 720"/>
                <a:gd name="T106" fmla="*/ 82 w 845"/>
                <a:gd name="T107" fmla="*/ 275 h 720"/>
                <a:gd name="T108" fmla="*/ 95 w 845"/>
                <a:gd name="T109" fmla="*/ 260 h 720"/>
                <a:gd name="T110" fmla="*/ 103 w 845"/>
                <a:gd name="T111" fmla="*/ 236 h 720"/>
                <a:gd name="T112" fmla="*/ 116 w 845"/>
                <a:gd name="T113" fmla="*/ 206 h 720"/>
                <a:gd name="T114" fmla="*/ 148 w 845"/>
                <a:gd name="T115" fmla="*/ 178 h 720"/>
                <a:gd name="T116" fmla="*/ 167 w 845"/>
                <a:gd name="T117" fmla="*/ 160 h 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65" name="Line 359"/>
            <p:cNvSpPr>
              <a:spLocks noChangeShapeType="1"/>
            </p:cNvSpPr>
            <p:nvPr>
              <p:custDataLst>
                <p:tags r:id="rId259"/>
              </p:custDataLst>
            </p:nvPr>
          </p:nvSpPr>
          <p:spPr bwMode="auto">
            <a:xfrm flipH="1">
              <a:off x="1708150" y="3692525"/>
              <a:ext cx="4763" cy="793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66" name="Freeform 360"/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1708150" y="3700463"/>
              <a:ext cx="12700" cy="58737"/>
            </a:xfrm>
            <a:custGeom>
              <a:avLst/>
              <a:gdLst>
                <a:gd name="T0" fmla="*/ 0 w 33"/>
                <a:gd name="T1" fmla="*/ 0 h 6"/>
                <a:gd name="T2" fmla="*/ 7 w 33"/>
                <a:gd name="T3" fmla="*/ 1 h 6"/>
                <a:gd name="T4" fmla="*/ 15 w 33"/>
                <a:gd name="T5" fmla="*/ 3 h 6"/>
                <a:gd name="T6" fmla="*/ 23 w 33"/>
                <a:gd name="T7" fmla="*/ 5 h 6"/>
                <a:gd name="T8" fmla="*/ 33 w 33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67" name="Freeform 361"/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1716088" y="3687763"/>
              <a:ext cx="4762" cy="57150"/>
            </a:xfrm>
            <a:custGeom>
              <a:avLst/>
              <a:gdLst>
                <a:gd name="T0" fmla="*/ 13 w 13"/>
                <a:gd name="T1" fmla="*/ 30 h 30"/>
                <a:gd name="T2" fmla="*/ 13 w 13"/>
                <a:gd name="T3" fmla="*/ 0 h 30"/>
                <a:gd name="T4" fmla="*/ 0 w 13"/>
                <a:gd name="T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grpSp>
          <p:nvGrpSpPr>
            <p:cNvPr id="268" name="Group 362"/>
            <p:cNvGrpSpPr>
              <a:grpSpLocks/>
            </p:cNvGrpSpPr>
            <p:nvPr>
              <p:custDataLst>
                <p:tags r:id="rId262"/>
              </p:custDataLst>
            </p:nvPr>
          </p:nvGrpSpPr>
          <p:grpSpPr bwMode="auto">
            <a:xfrm>
              <a:off x="1708150" y="3622675"/>
              <a:ext cx="417513" cy="201613"/>
              <a:chOff x="912" y="2626"/>
              <a:chExt cx="311" cy="127"/>
            </a:xfrm>
          </p:grpSpPr>
          <p:sp>
            <p:nvSpPr>
              <p:cNvPr id="457" name="Freeform 363"/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312 w 352"/>
                  <a:gd name="T1" fmla="*/ 79 h 387"/>
                  <a:gd name="T2" fmla="*/ 286 w 352"/>
                  <a:gd name="T3" fmla="*/ 79 h 387"/>
                  <a:gd name="T4" fmla="*/ 265 w 352"/>
                  <a:gd name="T5" fmla="*/ 79 h 387"/>
                  <a:gd name="T6" fmla="*/ 249 w 352"/>
                  <a:gd name="T7" fmla="*/ 74 h 387"/>
                  <a:gd name="T8" fmla="*/ 222 w 352"/>
                  <a:gd name="T9" fmla="*/ 59 h 387"/>
                  <a:gd name="T10" fmla="*/ 168 w 352"/>
                  <a:gd name="T11" fmla="*/ 20 h 387"/>
                  <a:gd name="T12" fmla="*/ 137 w 352"/>
                  <a:gd name="T13" fmla="*/ 6 h 387"/>
                  <a:gd name="T14" fmla="*/ 129 w 352"/>
                  <a:gd name="T15" fmla="*/ 19 h 387"/>
                  <a:gd name="T16" fmla="*/ 119 w 352"/>
                  <a:gd name="T17" fmla="*/ 29 h 387"/>
                  <a:gd name="T18" fmla="*/ 107 w 352"/>
                  <a:gd name="T19" fmla="*/ 35 h 387"/>
                  <a:gd name="T20" fmla="*/ 86 w 352"/>
                  <a:gd name="T21" fmla="*/ 56 h 387"/>
                  <a:gd name="T22" fmla="*/ 53 w 352"/>
                  <a:gd name="T23" fmla="*/ 97 h 387"/>
                  <a:gd name="T24" fmla="*/ 30 w 352"/>
                  <a:gd name="T25" fmla="*/ 131 h 387"/>
                  <a:gd name="T26" fmla="*/ 17 w 352"/>
                  <a:gd name="T27" fmla="*/ 154 h 387"/>
                  <a:gd name="T28" fmla="*/ 7 w 352"/>
                  <a:gd name="T29" fmla="*/ 177 h 387"/>
                  <a:gd name="T30" fmla="*/ 0 w 352"/>
                  <a:gd name="T31" fmla="*/ 198 h 387"/>
                  <a:gd name="T32" fmla="*/ 0 w 352"/>
                  <a:gd name="T33" fmla="*/ 213 h 387"/>
                  <a:gd name="T34" fmla="*/ 3 w 352"/>
                  <a:gd name="T35" fmla="*/ 222 h 387"/>
                  <a:gd name="T36" fmla="*/ 9 w 352"/>
                  <a:gd name="T37" fmla="*/ 231 h 387"/>
                  <a:gd name="T38" fmla="*/ 24 w 352"/>
                  <a:gd name="T39" fmla="*/ 241 h 387"/>
                  <a:gd name="T40" fmla="*/ 39 w 352"/>
                  <a:gd name="T41" fmla="*/ 245 h 387"/>
                  <a:gd name="T42" fmla="*/ 52 w 352"/>
                  <a:gd name="T43" fmla="*/ 245 h 387"/>
                  <a:gd name="T44" fmla="*/ 63 w 352"/>
                  <a:gd name="T45" fmla="*/ 241 h 387"/>
                  <a:gd name="T46" fmla="*/ 73 w 352"/>
                  <a:gd name="T47" fmla="*/ 236 h 387"/>
                  <a:gd name="T48" fmla="*/ 78 w 352"/>
                  <a:gd name="T49" fmla="*/ 236 h 387"/>
                  <a:gd name="T50" fmla="*/ 80 w 352"/>
                  <a:gd name="T51" fmla="*/ 238 h 387"/>
                  <a:gd name="T52" fmla="*/ 80 w 352"/>
                  <a:gd name="T53" fmla="*/ 257 h 387"/>
                  <a:gd name="T54" fmla="*/ 76 w 352"/>
                  <a:gd name="T55" fmla="*/ 279 h 387"/>
                  <a:gd name="T56" fmla="*/ 71 w 352"/>
                  <a:gd name="T57" fmla="*/ 290 h 387"/>
                  <a:gd name="T58" fmla="*/ 73 w 352"/>
                  <a:gd name="T59" fmla="*/ 307 h 387"/>
                  <a:gd name="T60" fmla="*/ 80 w 352"/>
                  <a:gd name="T61" fmla="*/ 331 h 387"/>
                  <a:gd name="T62" fmla="*/ 89 w 352"/>
                  <a:gd name="T63" fmla="*/ 351 h 387"/>
                  <a:gd name="T64" fmla="*/ 122 w 352"/>
                  <a:gd name="T65" fmla="*/ 373 h 387"/>
                  <a:gd name="T66" fmla="*/ 142 w 352"/>
                  <a:gd name="T67" fmla="*/ 385 h 387"/>
                  <a:gd name="T68" fmla="*/ 152 w 352"/>
                  <a:gd name="T69" fmla="*/ 386 h 387"/>
                  <a:gd name="T70" fmla="*/ 163 w 352"/>
                  <a:gd name="T71" fmla="*/ 377 h 387"/>
                  <a:gd name="T72" fmla="*/ 173 w 352"/>
                  <a:gd name="T73" fmla="*/ 363 h 387"/>
                  <a:gd name="T74" fmla="*/ 178 w 352"/>
                  <a:gd name="T75" fmla="*/ 350 h 387"/>
                  <a:gd name="T76" fmla="*/ 181 w 352"/>
                  <a:gd name="T77" fmla="*/ 338 h 387"/>
                  <a:gd name="T78" fmla="*/ 184 w 352"/>
                  <a:gd name="T79" fmla="*/ 323 h 387"/>
                  <a:gd name="T80" fmla="*/ 195 w 352"/>
                  <a:gd name="T81" fmla="*/ 304 h 387"/>
                  <a:gd name="T82" fmla="*/ 216 w 352"/>
                  <a:gd name="T83" fmla="*/ 281 h 387"/>
                  <a:gd name="T84" fmla="*/ 238 w 352"/>
                  <a:gd name="T85" fmla="*/ 263 h 387"/>
                  <a:gd name="T86" fmla="*/ 264 w 352"/>
                  <a:gd name="T87" fmla="*/ 249 h 387"/>
                  <a:gd name="T88" fmla="*/ 300 w 352"/>
                  <a:gd name="T89" fmla="*/ 229 h 387"/>
                  <a:gd name="T90" fmla="*/ 324 w 352"/>
                  <a:gd name="T91" fmla="*/ 212 h 387"/>
                  <a:gd name="T92" fmla="*/ 338 w 352"/>
                  <a:gd name="T93" fmla="*/ 199 h 387"/>
                  <a:gd name="T94" fmla="*/ 346 w 352"/>
                  <a:gd name="T95" fmla="*/ 185 h 387"/>
                  <a:gd name="T96" fmla="*/ 352 w 352"/>
                  <a:gd name="T97" fmla="*/ 169 h 387"/>
                  <a:gd name="T98" fmla="*/ 351 w 352"/>
                  <a:gd name="T99" fmla="*/ 149 h 387"/>
                  <a:gd name="T100" fmla="*/ 344 w 352"/>
                  <a:gd name="T101" fmla="*/ 125 h 387"/>
                  <a:gd name="T102" fmla="*/ 330 w 352"/>
                  <a:gd name="T103" fmla="*/ 91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58" name="Freeform 364"/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14 w 52"/>
                  <a:gd name="T1" fmla="*/ 0 h 78"/>
                  <a:gd name="T2" fmla="*/ 20 w 52"/>
                  <a:gd name="T3" fmla="*/ 0 h 78"/>
                  <a:gd name="T4" fmla="*/ 25 w 52"/>
                  <a:gd name="T5" fmla="*/ 2 h 78"/>
                  <a:gd name="T6" fmla="*/ 30 w 52"/>
                  <a:gd name="T7" fmla="*/ 6 h 78"/>
                  <a:gd name="T8" fmla="*/ 36 w 52"/>
                  <a:gd name="T9" fmla="*/ 9 h 78"/>
                  <a:gd name="T10" fmla="*/ 40 w 52"/>
                  <a:gd name="T11" fmla="*/ 13 h 78"/>
                  <a:gd name="T12" fmla="*/ 45 w 52"/>
                  <a:gd name="T13" fmla="*/ 17 h 78"/>
                  <a:gd name="T14" fmla="*/ 47 w 52"/>
                  <a:gd name="T15" fmla="*/ 21 h 78"/>
                  <a:gd name="T16" fmla="*/ 48 w 52"/>
                  <a:gd name="T17" fmla="*/ 24 h 78"/>
                  <a:gd name="T18" fmla="*/ 51 w 52"/>
                  <a:gd name="T19" fmla="*/ 34 h 78"/>
                  <a:gd name="T20" fmla="*/ 52 w 52"/>
                  <a:gd name="T21" fmla="*/ 41 h 78"/>
                  <a:gd name="T22" fmla="*/ 51 w 52"/>
                  <a:gd name="T23" fmla="*/ 46 h 78"/>
                  <a:gd name="T24" fmla="*/ 49 w 52"/>
                  <a:gd name="T25" fmla="*/ 50 h 78"/>
                  <a:gd name="T26" fmla="*/ 47 w 52"/>
                  <a:gd name="T27" fmla="*/ 54 h 78"/>
                  <a:gd name="T28" fmla="*/ 44 w 52"/>
                  <a:gd name="T29" fmla="*/ 60 h 78"/>
                  <a:gd name="T30" fmla="*/ 41 w 52"/>
                  <a:gd name="T31" fmla="*/ 65 h 78"/>
                  <a:gd name="T32" fmla="*/ 41 w 52"/>
                  <a:gd name="T33" fmla="*/ 73 h 78"/>
                  <a:gd name="T34" fmla="*/ 29 w 52"/>
                  <a:gd name="T35" fmla="*/ 75 h 78"/>
                  <a:gd name="T36" fmla="*/ 16 w 52"/>
                  <a:gd name="T37" fmla="*/ 78 h 78"/>
                  <a:gd name="T38" fmla="*/ 11 w 52"/>
                  <a:gd name="T39" fmla="*/ 78 h 78"/>
                  <a:gd name="T40" fmla="*/ 5 w 52"/>
                  <a:gd name="T41" fmla="*/ 78 h 78"/>
                  <a:gd name="T42" fmla="*/ 4 w 52"/>
                  <a:gd name="T43" fmla="*/ 78 h 78"/>
                  <a:gd name="T44" fmla="*/ 2 w 52"/>
                  <a:gd name="T45" fmla="*/ 77 h 78"/>
                  <a:gd name="T46" fmla="*/ 2 w 52"/>
                  <a:gd name="T47" fmla="*/ 75 h 78"/>
                  <a:gd name="T48" fmla="*/ 1 w 52"/>
                  <a:gd name="T49" fmla="*/ 73 h 78"/>
                  <a:gd name="T50" fmla="*/ 0 w 52"/>
                  <a:gd name="T51" fmla="*/ 69 h 78"/>
                  <a:gd name="T52" fmla="*/ 1 w 52"/>
                  <a:gd name="T53" fmla="*/ 64 h 78"/>
                  <a:gd name="T54" fmla="*/ 3 w 52"/>
                  <a:gd name="T55" fmla="*/ 60 h 78"/>
                  <a:gd name="T56" fmla="*/ 7 w 52"/>
                  <a:gd name="T57" fmla="*/ 56 h 78"/>
                  <a:gd name="T58" fmla="*/ 17 w 52"/>
                  <a:gd name="T59" fmla="*/ 47 h 78"/>
                  <a:gd name="T60" fmla="*/ 28 w 52"/>
                  <a:gd name="T61" fmla="*/ 42 h 78"/>
                  <a:gd name="T62" fmla="*/ 24 w 52"/>
                  <a:gd name="T63" fmla="*/ 32 h 78"/>
                  <a:gd name="T64" fmla="*/ 21 w 52"/>
                  <a:gd name="T65" fmla="*/ 21 h 78"/>
                  <a:gd name="T66" fmla="*/ 18 w 52"/>
                  <a:gd name="T67" fmla="*/ 10 h 78"/>
                  <a:gd name="T68" fmla="*/ 14 w 52"/>
                  <a:gd name="T6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59" name="Freeform 365"/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13 w 33"/>
                  <a:gd name="T1" fmla="*/ 6 h 30"/>
                  <a:gd name="T2" fmla="*/ 0 w 33"/>
                  <a:gd name="T3" fmla="*/ 24 h 30"/>
                  <a:gd name="T4" fmla="*/ 7 w 33"/>
                  <a:gd name="T5" fmla="*/ 25 h 30"/>
                  <a:gd name="T6" fmla="*/ 15 w 33"/>
                  <a:gd name="T7" fmla="*/ 27 h 30"/>
                  <a:gd name="T8" fmla="*/ 23 w 33"/>
                  <a:gd name="T9" fmla="*/ 29 h 30"/>
                  <a:gd name="T10" fmla="*/ 33 w 33"/>
                  <a:gd name="T11" fmla="*/ 30 h 30"/>
                  <a:gd name="T12" fmla="*/ 33 w 33"/>
                  <a:gd name="T13" fmla="*/ 0 h 30"/>
                  <a:gd name="T14" fmla="*/ 20 w 33"/>
                  <a:gd name="T15" fmla="*/ 0 h 30"/>
                  <a:gd name="T16" fmla="*/ 13 w 33"/>
                  <a:gd name="T17" fmla="*/ 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</p:grpSp>
        <p:sp>
          <p:nvSpPr>
            <p:cNvPr id="269" name="Freeform 366"/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5356225" y="4340225"/>
              <a:ext cx="19050" cy="58738"/>
            </a:xfrm>
            <a:custGeom>
              <a:avLst/>
              <a:gdLst>
                <a:gd name="T0" fmla="*/ 13 w 47"/>
                <a:gd name="T1" fmla="*/ 0 h 28"/>
                <a:gd name="T2" fmla="*/ 25 w 47"/>
                <a:gd name="T3" fmla="*/ 0 h 28"/>
                <a:gd name="T4" fmla="*/ 31 w 47"/>
                <a:gd name="T5" fmla="*/ 2 h 28"/>
                <a:gd name="T6" fmla="*/ 33 w 47"/>
                <a:gd name="T7" fmla="*/ 4 h 28"/>
                <a:gd name="T8" fmla="*/ 33 w 47"/>
                <a:gd name="T9" fmla="*/ 6 h 28"/>
                <a:gd name="T10" fmla="*/ 32 w 47"/>
                <a:gd name="T11" fmla="*/ 8 h 28"/>
                <a:gd name="T12" fmla="*/ 33 w 47"/>
                <a:gd name="T13" fmla="*/ 10 h 28"/>
                <a:gd name="T14" fmla="*/ 37 w 47"/>
                <a:gd name="T15" fmla="*/ 12 h 28"/>
                <a:gd name="T16" fmla="*/ 47 w 47"/>
                <a:gd name="T17" fmla="*/ 12 h 28"/>
                <a:gd name="T18" fmla="*/ 42 w 47"/>
                <a:gd name="T19" fmla="*/ 19 h 28"/>
                <a:gd name="T20" fmla="*/ 37 w 47"/>
                <a:gd name="T21" fmla="*/ 25 h 28"/>
                <a:gd name="T22" fmla="*/ 33 w 47"/>
                <a:gd name="T23" fmla="*/ 27 h 28"/>
                <a:gd name="T24" fmla="*/ 28 w 47"/>
                <a:gd name="T25" fmla="*/ 28 h 28"/>
                <a:gd name="T26" fmla="*/ 16 w 47"/>
                <a:gd name="T27" fmla="*/ 27 h 28"/>
                <a:gd name="T28" fmla="*/ 0 w 47"/>
                <a:gd name="T29" fmla="*/ 25 h 28"/>
                <a:gd name="T30" fmla="*/ 1 w 47"/>
                <a:gd name="T31" fmla="*/ 19 h 28"/>
                <a:gd name="T32" fmla="*/ 2 w 47"/>
                <a:gd name="T33" fmla="*/ 15 h 28"/>
                <a:gd name="T34" fmla="*/ 4 w 47"/>
                <a:gd name="T35" fmla="*/ 13 h 28"/>
                <a:gd name="T36" fmla="*/ 6 w 47"/>
                <a:gd name="T37" fmla="*/ 12 h 28"/>
                <a:gd name="T38" fmla="*/ 9 w 47"/>
                <a:gd name="T39" fmla="*/ 11 h 28"/>
                <a:gd name="T40" fmla="*/ 11 w 47"/>
                <a:gd name="T41" fmla="*/ 9 h 28"/>
                <a:gd name="T42" fmla="*/ 13 w 47"/>
                <a:gd name="T43" fmla="*/ 5 h 28"/>
                <a:gd name="T44" fmla="*/ 13 w 47"/>
                <a:gd name="T4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70" name="Freeform 367"/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5327650" y="4367213"/>
              <a:ext cx="23813" cy="57150"/>
            </a:xfrm>
            <a:custGeom>
              <a:avLst/>
              <a:gdLst>
                <a:gd name="T0" fmla="*/ 13 w 53"/>
                <a:gd name="T1" fmla="*/ 0 h 33"/>
                <a:gd name="T2" fmla="*/ 26 w 53"/>
                <a:gd name="T3" fmla="*/ 1 h 33"/>
                <a:gd name="T4" fmla="*/ 34 w 53"/>
                <a:gd name="T5" fmla="*/ 1 h 33"/>
                <a:gd name="T6" fmla="*/ 37 w 53"/>
                <a:gd name="T7" fmla="*/ 3 h 33"/>
                <a:gd name="T8" fmla="*/ 37 w 53"/>
                <a:gd name="T9" fmla="*/ 4 h 33"/>
                <a:gd name="T10" fmla="*/ 37 w 53"/>
                <a:gd name="T11" fmla="*/ 6 h 33"/>
                <a:gd name="T12" fmla="*/ 39 w 53"/>
                <a:gd name="T13" fmla="*/ 8 h 33"/>
                <a:gd name="T14" fmla="*/ 44 w 53"/>
                <a:gd name="T15" fmla="*/ 10 h 33"/>
                <a:gd name="T16" fmla="*/ 53 w 53"/>
                <a:gd name="T17" fmla="*/ 12 h 33"/>
                <a:gd name="T18" fmla="*/ 48 w 53"/>
                <a:gd name="T19" fmla="*/ 22 h 33"/>
                <a:gd name="T20" fmla="*/ 44 w 53"/>
                <a:gd name="T21" fmla="*/ 28 h 33"/>
                <a:gd name="T22" fmla="*/ 42 w 53"/>
                <a:gd name="T23" fmla="*/ 31 h 33"/>
                <a:gd name="T24" fmla="*/ 38 w 53"/>
                <a:gd name="T25" fmla="*/ 32 h 33"/>
                <a:gd name="T26" fmla="*/ 36 w 53"/>
                <a:gd name="T27" fmla="*/ 33 h 33"/>
                <a:gd name="T28" fmla="*/ 34 w 53"/>
                <a:gd name="T29" fmla="*/ 33 h 33"/>
                <a:gd name="T30" fmla="*/ 20 w 53"/>
                <a:gd name="T31" fmla="*/ 30 h 33"/>
                <a:gd name="T32" fmla="*/ 0 w 53"/>
                <a:gd name="T33" fmla="*/ 24 h 33"/>
                <a:gd name="T34" fmla="*/ 0 w 53"/>
                <a:gd name="T35" fmla="*/ 19 h 33"/>
                <a:gd name="T36" fmla="*/ 2 w 53"/>
                <a:gd name="T37" fmla="*/ 16 h 33"/>
                <a:gd name="T38" fmla="*/ 4 w 53"/>
                <a:gd name="T39" fmla="*/ 14 h 33"/>
                <a:gd name="T40" fmla="*/ 7 w 53"/>
                <a:gd name="T41" fmla="*/ 12 h 33"/>
                <a:gd name="T42" fmla="*/ 9 w 53"/>
                <a:gd name="T43" fmla="*/ 11 h 33"/>
                <a:gd name="T44" fmla="*/ 11 w 53"/>
                <a:gd name="T45" fmla="*/ 9 h 33"/>
                <a:gd name="T46" fmla="*/ 12 w 53"/>
                <a:gd name="T47" fmla="*/ 6 h 33"/>
                <a:gd name="T48" fmla="*/ 13 w 53"/>
                <a:gd name="T4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grpSp>
          <p:nvGrpSpPr>
            <p:cNvPr id="271" name="Group 368"/>
            <p:cNvGrpSpPr>
              <a:grpSpLocks/>
            </p:cNvGrpSpPr>
            <p:nvPr>
              <p:custDataLst>
                <p:tags r:id="rId265"/>
              </p:custDataLst>
            </p:nvPr>
          </p:nvGrpSpPr>
          <p:grpSpPr bwMode="auto">
            <a:xfrm>
              <a:off x="5168900" y="3859213"/>
              <a:ext cx="168275" cy="103187"/>
              <a:chOff x="3481" y="2773"/>
              <a:chExt cx="125" cy="65"/>
            </a:xfrm>
          </p:grpSpPr>
          <p:sp>
            <p:nvSpPr>
              <p:cNvPr id="446" name="Freeform 36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13 w 13"/>
                  <a:gd name="T1" fmla="*/ 0 h 18"/>
                  <a:gd name="T2" fmla="*/ 10 w 13"/>
                  <a:gd name="T3" fmla="*/ 9 h 18"/>
                  <a:gd name="T4" fmla="*/ 6 w 13"/>
                  <a:gd name="T5" fmla="*/ 18 h 18"/>
                  <a:gd name="T6" fmla="*/ 5 w 13"/>
                  <a:gd name="T7" fmla="*/ 17 h 18"/>
                  <a:gd name="T8" fmla="*/ 3 w 13"/>
                  <a:gd name="T9" fmla="*/ 14 h 18"/>
                  <a:gd name="T10" fmla="*/ 1 w 13"/>
                  <a:gd name="T11" fmla="*/ 10 h 18"/>
                  <a:gd name="T12" fmla="*/ 0 w 13"/>
                  <a:gd name="T13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47" name="Line 370"/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48" name="Freeform 371"/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14 w 14"/>
                  <a:gd name="T1" fmla="*/ 19 h 19"/>
                  <a:gd name="T2" fmla="*/ 0 w 14"/>
                  <a:gd name="T3" fmla="*/ 0 h 19"/>
                  <a:gd name="T4" fmla="*/ 14 w 14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49" name="Freeform 372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6 h 18"/>
                  <a:gd name="T2" fmla="*/ 7 w 7"/>
                  <a:gd name="T3" fmla="*/ 18 h 18"/>
                  <a:gd name="T4" fmla="*/ 0 w 7"/>
                  <a:gd name="T5" fmla="*/ 18 h 18"/>
                  <a:gd name="T6" fmla="*/ 0 w 7"/>
                  <a:gd name="T7" fmla="*/ 0 h 18"/>
                  <a:gd name="T8" fmla="*/ 7 w 7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50" name="Freeform 373"/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20 w 20"/>
                  <a:gd name="T1" fmla="*/ 12 h 12"/>
                  <a:gd name="T2" fmla="*/ 10 w 20"/>
                  <a:gd name="T3" fmla="*/ 9 h 12"/>
                  <a:gd name="T4" fmla="*/ 0 w 20"/>
                  <a:gd name="T5" fmla="*/ 6 h 12"/>
                  <a:gd name="T6" fmla="*/ 1 w 20"/>
                  <a:gd name="T7" fmla="*/ 5 h 12"/>
                  <a:gd name="T8" fmla="*/ 3 w 20"/>
                  <a:gd name="T9" fmla="*/ 3 h 12"/>
                  <a:gd name="T10" fmla="*/ 8 w 20"/>
                  <a:gd name="T11" fmla="*/ 1 h 12"/>
                  <a:gd name="T12" fmla="*/ 13 w 20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51" name="Line 374"/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52" name="Freeform 375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18 h 18"/>
                  <a:gd name="T4" fmla="*/ 20 w 20"/>
                  <a:gd name="T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53" name="Freeform 376"/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7 w 7"/>
                  <a:gd name="T1" fmla="*/ 12 h 12"/>
                  <a:gd name="T2" fmla="*/ 4 w 7"/>
                  <a:gd name="T3" fmla="*/ 6 h 12"/>
                  <a:gd name="T4" fmla="*/ 0 w 7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54" name="Freeform 377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18 h 18"/>
                  <a:gd name="T4" fmla="*/ 20 w 20"/>
                  <a:gd name="T5" fmla="*/ 18 h 18"/>
                  <a:gd name="T6" fmla="*/ 17 w 20"/>
                  <a:gd name="T7" fmla="*/ 12 h 18"/>
                  <a:gd name="T8" fmla="*/ 13 w 20"/>
                  <a:gd name="T9" fmla="*/ 6 h 18"/>
                  <a:gd name="T10" fmla="*/ 0 w 20"/>
                  <a:gd name="T11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55" name="Freeform 378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6 h 18"/>
                  <a:gd name="T2" fmla="*/ 7 w 7"/>
                  <a:gd name="T3" fmla="*/ 18 h 18"/>
                  <a:gd name="T4" fmla="*/ 0 w 7"/>
                  <a:gd name="T5" fmla="*/ 18 h 18"/>
                  <a:gd name="T6" fmla="*/ 0 w 7"/>
                  <a:gd name="T7" fmla="*/ 0 h 18"/>
                  <a:gd name="T8" fmla="*/ 7 w 7"/>
                  <a:gd name="T9" fmla="*/ 0 h 18"/>
                  <a:gd name="T10" fmla="*/ 0 w 7"/>
                  <a:gd name="T11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56" name="Freeform 37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13 w 13"/>
                  <a:gd name="T1" fmla="*/ 0 h 18"/>
                  <a:gd name="T2" fmla="*/ 10 w 13"/>
                  <a:gd name="T3" fmla="*/ 9 h 18"/>
                  <a:gd name="T4" fmla="*/ 6 w 13"/>
                  <a:gd name="T5" fmla="*/ 18 h 18"/>
                  <a:gd name="T6" fmla="*/ 5 w 13"/>
                  <a:gd name="T7" fmla="*/ 17 h 18"/>
                  <a:gd name="T8" fmla="*/ 3 w 13"/>
                  <a:gd name="T9" fmla="*/ 14 h 18"/>
                  <a:gd name="T10" fmla="*/ 1 w 13"/>
                  <a:gd name="T11" fmla="*/ 10 h 18"/>
                  <a:gd name="T12" fmla="*/ 0 w 13"/>
                  <a:gd name="T13" fmla="*/ 6 h 18"/>
                  <a:gd name="T14" fmla="*/ 6 w 13"/>
                  <a:gd name="T15" fmla="*/ 6 h 18"/>
                  <a:gd name="T16" fmla="*/ 13 w 13"/>
                  <a:gd name="T1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</p:grpSp>
        <p:sp>
          <p:nvSpPr>
            <p:cNvPr id="272" name="Freeform 380"/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4297363" y="3851275"/>
              <a:ext cx="319087" cy="379413"/>
            </a:xfrm>
            <a:custGeom>
              <a:avLst/>
              <a:gdLst>
                <a:gd name="T0" fmla="*/ 60 w 736"/>
                <a:gd name="T1" fmla="*/ 685 h 721"/>
                <a:gd name="T2" fmla="*/ 91 w 736"/>
                <a:gd name="T3" fmla="*/ 668 h 721"/>
                <a:gd name="T4" fmla="*/ 126 w 736"/>
                <a:gd name="T5" fmla="*/ 668 h 721"/>
                <a:gd name="T6" fmla="*/ 196 w 736"/>
                <a:gd name="T7" fmla="*/ 692 h 721"/>
                <a:gd name="T8" fmla="*/ 245 w 736"/>
                <a:gd name="T9" fmla="*/ 705 h 721"/>
                <a:gd name="T10" fmla="*/ 292 w 736"/>
                <a:gd name="T11" fmla="*/ 703 h 721"/>
                <a:gd name="T12" fmla="*/ 611 w 736"/>
                <a:gd name="T13" fmla="*/ 717 h 721"/>
                <a:gd name="T14" fmla="*/ 651 w 736"/>
                <a:gd name="T15" fmla="*/ 707 h 721"/>
                <a:gd name="T16" fmla="*/ 627 w 736"/>
                <a:gd name="T17" fmla="*/ 657 h 721"/>
                <a:gd name="T18" fmla="*/ 664 w 736"/>
                <a:gd name="T19" fmla="*/ 433 h 721"/>
                <a:gd name="T20" fmla="*/ 709 w 736"/>
                <a:gd name="T21" fmla="*/ 429 h 721"/>
                <a:gd name="T22" fmla="*/ 723 w 736"/>
                <a:gd name="T23" fmla="*/ 416 h 721"/>
                <a:gd name="T24" fmla="*/ 734 w 736"/>
                <a:gd name="T25" fmla="*/ 360 h 721"/>
                <a:gd name="T26" fmla="*/ 722 w 736"/>
                <a:gd name="T27" fmla="*/ 302 h 721"/>
                <a:gd name="T28" fmla="*/ 708 w 736"/>
                <a:gd name="T29" fmla="*/ 304 h 721"/>
                <a:gd name="T30" fmla="*/ 676 w 736"/>
                <a:gd name="T31" fmla="*/ 300 h 721"/>
                <a:gd name="T32" fmla="*/ 634 w 736"/>
                <a:gd name="T33" fmla="*/ 299 h 721"/>
                <a:gd name="T34" fmla="*/ 623 w 736"/>
                <a:gd name="T35" fmla="*/ 290 h 721"/>
                <a:gd name="T36" fmla="*/ 617 w 736"/>
                <a:gd name="T37" fmla="*/ 253 h 721"/>
                <a:gd name="T38" fmla="*/ 607 w 736"/>
                <a:gd name="T39" fmla="*/ 219 h 721"/>
                <a:gd name="T40" fmla="*/ 597 w 736"/>
                <a:gd name="T41" fmla="*/ 186 h 721"/>
                <a:gd name="T42" fmla="*/ 607 w 736"/>
                <a:gd name="T43" fmla="*/ 167 h 721"/>
                <a:gd name="T44" fmla="*/ 617 w 736"/>
                <a:gd name="T45" fmla="*/ 148 h 721"/>
                <a:gd name="T46" fmla="*/ 611 w 736"/>
                <a:gd name="T47" fmla="*/ 100 h 721"/>
                <a:gd name="T48" fmla="*/ 544 w 736"/>
                <a:gd name="T49" fmla="*/ 70 h 721"/>
                <a:gd name="T50" fmla="*/ 477 w 736"/>
                <a:gd name="T51" fmla="*/ 66 h 721"/>
                <a:gd name="T52" fmla="*/ 471 w 736"/>
                <a:gd name="T53" fmla="*/ 81 h 721"/>
                <a:gd name="T54" fmla="*/ 463 w 736"/>
                <a:gd name="T55" fmla="*/ 101 h 721"/>
                <a:gd name="T56" fmla="*/ 440 w 736"/>
                <a:gd name="T57" fmla="*/ 122 h 721"/>
                <a:gd name="T58" fmla="*/ 392 w 736"/>
                <a:gd name="T59" fmla="*/ 130 h 721"/>
                <a:gd name="T60" fmla="*/ 364 w 736"/>
                <a:gd name="T61" fmla="*/ 115 h 721"/>
                <a:gd name="T62" fmla="*/ 339 w 736"/>
                <a:gd name="T63" fmla="*/ 82 h 721"/>
                <a:gd name="T64" fmla="*/ 319 w 736"/>
                <a:gd name="T65" fmla="*/ 39 h 721"/>
                <a:gd name="T66" fmla="*/ 312 w 736"/>
                <a:gd name="T67" fmla="*/ 0 h 721"/>
                <a:gd name="T68" fmla="*/ 30 w 736"/>
                <a:gd name="T69" fmla="*/ 15 h 721"/>
                <a:gd name="T70" fmla="*/ 47 w 736"/>
                <a:gd name="T71" fmla="*/ 29 h 721"/>
                <a:gd name="T72" fmla="*/ 75 w 736"/>
                <a:gd name="T73" fmla="*/ 75 h 721"/>
                <a:gd name="T74" fmla="*/ 102 w 736"/>
                <a:gd name="T75" fmla="*/ 130 h 721"/>
                <a:gd name="T76" fmla="*/ 103 w 736"/>
                <a:gd name="T77" fmla="*/ 171 h 721"/>
                <a:gd name="T78" fmla="*/ 93 w 736"/>
                <a:gd name="T79" fmla="*/ 203 h 721"/>
                <a:gd name="T80" fmla="*/ 96 w 736"/>
                <a:gd name="T81" fmla="*/ 229 h 721"/>
                <a:gd name="T82" fmla="*/ 119 w 736"/>
                <a:gd name="T83" fmla="*/ 272 h 721"/>
                <a:gd name="T84" fmla="*/ 131 w 736"/>
                <a:gd name="T85" fmla="*/ 307 h 721"/>
                <a:gd name="T86" fmla="*/ 127 w 736"/>
                <a:gd name="T87" fmla="*/ 352 h 721"/>
                <a:gd name="T88" fmla="*/ 106 w 736"/>
                <a:gd name="T89" fmla="*/ 403 h 721"/>
                <a:gd name="T90" fmla="*/ 77 w 736"/>
                <a:gd name="T91" fmla="*/ 446 h 721"/>
                <a:gd name="T92" fmla="*/ 41 w 736"/>
                <a:gd name="T93" fmla="*/ 477 h 721"/>
                <a:gd name="T94" fmla="*/ 25 w 736"/>
                <a:gd name="T95" fmla="*/ 591 h 721"/>
                <a:gd name="T96" fmla="*/ 11 w 736"/>
                <a:gd name="T97" fmla="*/ 627 h 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73" name="Freeform 381"/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4308475" y="3824288"/>
              <a:ext cx="15875" cy="60325"/>
            </a:xfrm>
            <a:custGeom>
              <a:avLst/>
              <a:gdLst>
                <a:gd name="T0" fmla="*/ 0 w 39"/>
                <a:gd name="T1" fmla="*/ 31 h 31"/>
                <a:gd name="T2" fmla="*/ 12 w 39"/>
                <a:gd name="T3" fmla="*/ 28 h 31"/>
                <a:gd name="T4" fmla="*/ 22 w 39"/>
                <a:gd name="T5" fmla="*/ 28 h 31"/>
                <a:gd name="T6" fmla="*/ 26 w 39"/>
                <a:gd name="T7" fmla="*/ 28 h 31"/>
                <a:gd name="T8" fmla="*/ 30 w 39"/>
                <a:gd name="T9" fmla="*/ 28 h 31"/>
                <a:gd name="T10" fmla="*/ 35 w 39"/>
                <a:gd name="T11" fmla="*/ 27 h 31"/>
                <a:gd name="T12" fmla="*/ 39 w 39"/>
                <a:gd name="T13" fmla="*/ 25 h 31"/>
                <a:gd name="T14" fmla="*/ 39 w 39"/>
                <a:gd name="T15" fmla="*/ 0 h 31"/>
                <a:gd name="T16" fmla="*/ 26 w 39"/>
                <a:gd name="T17" fmla="*/ 0 h 31"/>
                <a:gd name="T18" fmla="*/ 17 w 39"/>
                <a:gd name="T19" fmla="*/ 0 h 31"/>
                <a:gd name="T20" fmla="*/ 8 w 39"/>
                <a:gd name="T21" fmla="*/ 0 h 31"/>
                <a:gd name="T22" fmla="*/ 0 w 39"/>
                <a:gd name="T23" fmla="*/ 0 h 31"/>
                <a:gd name="T24" fmla="*/ 0 w 39"/>
                <a:gd name="T2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74" name="Freeform 383"/>
            <p:cNvSpPr>
              <a:spLocks/>
            </p:cNvSpPr>
            <p:nvPr>
              <p:custDataLst>
                <p:tags r:id="rId268"/>
              </p:custDataLst>
            </p:nvPr>
          </p:nvSpPr>
          <p:spPr bwMode="auto">
            <a:xfrm>
              <a:off x="4557713" y="2935288"/>
              <a:ext cx="411162" cy="611187"/>
            </a:xfrm>
            <a:custGeom>
              <a:avLst/>
              <a:gdLst>
                <a:gd name="T0" fmla="*/ 742 w 943"/>
                <a:gd name="T1" fmla="*/ 5 h 1172"/>
                <a:gd name="T2" fmla="*/ 765 w 943"/>
                <a:gd name="T3" fmla="*/ 23 h 1172"/>
                <a:gd name="T4" fmla="*/ 803 w 943"/>
                <a:gd name="T5" fmla="*/ 30 h 1172"/>
                <a:gd name="T6" fmla="*/ 814 w 943"/>
                <a:gd name="T7" fmla="*/ 55 h 1172"/>
                <a:gd name="T8" fmla="*/ 835 w 943"/>
                <a:gd name="T9" fmla="*/ 109 h 1172"/>
                <a:gd name="T10" fmla="*/ 837 w 943"/>
                <a:gd name="T11" fmla="*/ 187 h 1172"/>
                <a:gd name="T12" fmla="*/ 857 w 943"/>
                <a:gd name="T13" fmla="*/ 243 h 1172"/>
                <a:gd name="T14" fmla="*/ 922 w 943"/>
                <a:gd name="T15" fmla="*/ 292 h 1172"/>
                <a:gd name="T16" fmla="*/ 879 w 943"/>
                <a:gd name="T17" fmla="*/ 361 h 1172"/>
                <a:gd name="T18" fmla="*/ 851 w 943"/>
                <a:gd name="T19" fmla="*/ 410 h 1172"/>
                <a:gd name="T20" fmla="*/ 809 w 943"/>
                <a:gd name="T21" fmla="*/ 635 h 1172"/>
                <a:gd name="T22" fmla="*/ 770 w 943"/>
                <a:gd name="T23" fmla="*/ 677 h 1172"/>
                <a:gd name="T24" fmla="*/ 763 w 943"/>
                <a:gd name="T25" fmla="*/ 721 h 1172"/>
                <a:gd name="T26" fmla="*/ 745 w 943"/>
                <a:gd name="T27" fmla="*/ 735 h 1172"/>
                <a:gd name="T28" fmla="*/ 723 w 943"/>
                <a:gd name="T29" fmla="*/ 798 h 1172"/>
                <a:gd name="T30" fmla="*/ 692 w 943"/>
                <a:gd name="T31" fmla="*/ 877 h 1172"/>
                <a:gd name="T32" fmla="*/ 662 w 943"/>
                <a:gd name="T33" fmla="*/ 903 h 1172"/>
                <a:gd name="T34" fmla="*/ 664 w 943"/>
                <a:gd name="T35" fmla="*/ 934 h 1172"/>
                <a:gd name="T36" fmla="*/ 686 w 943"/>
                <a:gd name="T37" fmla="*/ 939 h 1172"/>
                <a:gd name="T38" fmla="*/ 709 w 943"/>
                <a:gd name="T39" fmla="*/ 950 h 1172"/>
                <a:gd name="T40" fmla="*/ 742 w 943"/>
                <a:gd name="T41" fmla="*/ 971 h 1172"/>
                <a:gd name="T42" fmla="*/ 756 w 943"/>
                <a:gd name="T43" fmla="*/ 1007 h 1172"/>
                <a:gd name="T44" fmla="*/ 775 w 943"/>
                <a:gd name="T45" fmla="*/ 1043 h 1172"/>
                <a:gd name="T46" fmla="*/ 803 w 943"/>
                <a:gd name="T47" fmla="*/ 1053 h 1172"/>
                <a:gd name="T48" fmla="*/ 809 w 943"/>
                <a:gd name="T49" fmla="*/ 1094 h 1172"/>
                <a:gd name="T50" fmla="*/ 718 w 943"/>
                <a:gd name="T51" fmla="*/ 1115 h 1172"/>
                <a:gd name="T52" fmla="*/ 687 w 943"/>
                <a:gd name="T53" fmla="*/ 1157 h 1172"/>
                <a:gd name="T54" fmla="*/ 598 w 943"/>
                <a:gd name="T55" fmla="*/ 1170 h 1172"/>
                <a:gd name="T56" fmla="*/ 515 w 943"/>
                <a:gd name="T57" fmla="*/ 1158 h 1172"/>
                <a:gd name="T58" fmla="*/ 464 w 943"/>
                <a:gd name="T59" fmla="*/ 1123 h 1172"/>
                <a:gd name="T60" fmla="*/ 390 w 943"/>
                <a:gd name="T61" fmla="*/ 1125 h 1172"/>
                <a:gd name="T62" fmla="*/ 319 w 943"/>
                <a:gd name="T63" fmla="*/ 1120 h 1172"/>
                <a:gd name="T64" fmla="*/ 297 w 943"/>
                <a:gd name="T65" fmla="*/ 1104 h 1172"/>
                <a:gd name="T66" fmla="*/ 294 w 943"/>
                <a:gd name="T67" fmla="*/ 1075 h 1172"/>
                <a:gd name="T68" fmla="*/ 274 w 943"/>
                <a:gd name="T69" fmla="*/ 1029 h 1172"/>
                <a:gd name="T70" fmla="*/ 216 w 943"/>
                <a:gd name="T71" fmla="*/ 974 h 1172"/>
                <a:gd name="T72" fmla="*/ 193 w 943"/>
                <a:gd name="T73" fmla="*/ 925 h 1172"/>
                <a:gd name="T74" fmla="*/ 152 w 943"/>
                <a:gd name="T75" fmla="*/ 903 h 1172"/>
                <a:gd name="T76" fmla="*/ 120 w 943"/>
                <a:gd name="T77" fmla="*/ 846 h 1172"/>
                <a:gd name="T78" fmla="*/ 97 w 943"/>
                <a:gd name="T79" fmla="*/ 788 h 1172"/>
                <a:gd name="T80" fmla="*/ 65 w 943"/>
                <a:gd name="T81" fmla="*/ 758 h 1172"/>
                <a:gd name="T82" fmla="*/ 33 w 943"/>
                <a:gd name="T83" fmla="*/ 676 h 1172"/>
                <a:gd name="T84" fmla="*/ 4 w 943"/>
                <a:gd name="T85" fmla="*/ 611 h 1172"/>
                <a:gd name="T86" fmla="*/ 18 w 943"/>
                <a:gd name="T87" fmla="*/ 577 h 1172"/>
                <a:gd name="T88" fmla="*/ 29 w 943"/>
                <a:gd name="T89" fmla="*/ 521 h 1172"/>
                <a:gd name="T90" fmla="*/ 64 w 943"/>
                <a:gd name="T91" fmla="*/ 474 h 1172"/>
                <a:gd name="T92" fmla="*/ 113 w 943"/>
                <a:gd name="T93" fmla="*/ 222 h 1172"/>
                <a:gd name="T94" fmla="*/ 123 w 943"/>
                <a:gd name="T95" fmla="*/ 179 h 1172"/>
                <a:gd name="T96" fmla="*/ 153 w 943"/>
                <a:gd name="T97" fmla="*/ 171 h 1172"/>
                <a:gd name="T98" fmla="*/ 160 w 943"/>
                <a:gd name="T99" fmla="*/ 122 h 1172"/>
                <a:gd name="T100" fmla="*/ 159 w 943"/>
                <a:gd name="T101" fmla="*/ 67 h 1172"/>
                <a:gd name="T102" fmla="*/ 679 w 943"/>
                <a:gd name="T103" fmla="*/ 69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grpSp>
          <p:nvGrpSpPr>
            <p:cNvPr id="275" name="Group 384"/>
            <p:cNvGrpSpPr>
              <a:grpSpLocks/>
            </p:cNvGrpSpPr>
            <p:nvPr>
              <p:custDataLst>
                <p:tags r:id="rId269"/>
              </p:custDataLst>
            </p:nvPr>
          </p:nvGrpSpPr>
          <p:grpSpPr bwMode="auto">
            <a:xfrm>
              <a:off x="3341688" y="3136900"/>
              <a:ext cx="80962" cy="82550"/>
              <a:chOff x="2352" y="2343"/>
              <a:chExt cx="65" cy="53"/>
            </a:xfrm>
          </p:grpSpPr>
          <p:sp>
            <p:nvSpPr>
              <p:cNvPr id="440" name="Freeform 385"/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46 w 51"/>
                  <a:gd name="T1" fmla="*/ 0 h 33"/>
                  <a:gd name="T2" fmla="*/ 0 w 51"/>
                  <a:gd name="T3" fmla="*/ 5 h 33"/>
                  <a:gd name="T4" fmla="*/ 4 w 51"/>
                  <a:gd name="T5" fmla="*/ 28 h 33"/>
                  <a:gd name="T6" fmla="*/ 10 w 51"/>
                  <a:gd name="T7" fmla="*/ 33 h 33"/>
                  <a:gd name="T8" fmla="*/ 35 w 51"/>
                  <a:gd name="T9" fmla="*/ 25 h 33"/>
                  <a:gd name="T10" fmla="*/ 48 w 51"/>
                  <a:gd name="T11" fmla="*/ 15 h 33"/>
                  <a:gd name="T12" fmla="*/ 51 w 51"/>
                  <a:gd name="T13" fmla="*/ 8 h 33"/>
                  <a:gd name="T14" fmla="*/ 46 w 51"/>
                  <a:gd name="T15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41" name="Freeform 386"/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61 w 61"/>
                  <a:gd name="T1" fmla="*/ 6 h 20"/>
                  <a:gd name="T2" fmla="*/ 53 w 61"/>
                  <a:gd name="T3" fmla="*/ 2 h 20"/>
                  <a:gd name="T4" fmla="*/ 0 w 61"/>
                  <a:gd name="T5" fmla="*/ 0 h 20"/>
                  <a:gd name="T6" fmla="*/ 2 w 61"/>
                  <a:gd name="T7" fmla="*/ 14 h 20"/>
                  <a:gd name="T8" fmla="*/ 7 w 61"/>
                  <a:gd name="T9" fmla="*/ 20 h 20"/>
                  <a:gd name="T10" fmla="*/ 18 w 61"/>
                  <a:gd name="T11" fmla="*/ 13 h 20"/>
                  <a:gd name="T12" fmla="*/ 61 w 61"/>
                  <a:gd name="T13" fmla="*/ 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42" name="Freeform 387"/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2 w 15"/>
                  <a:gd name="T1" fmla="*/ 0 h 36"/>
                  <a:gd name="T2" fmla="*/ 0 w 15"/>
                  <a:gd name="T3" fmla="*/ 20 h 36"/>
                  <a:gd name="T4" fmla="*/ 0 w 15"/>
                  <a:gd name="T5" fmla="*/ 36 h 36"/>
                  <a:gd name="T6" fmla="*/ 11 w 15"/>
                  <a:gd name="T7" fmla="*/ 35 h 36"/>
                  <a:gd name="T8" fmla="*/ 15 w 15"/>
                  <a:gd name="T9" fmla="*/ 14 h 36"/>
                  <a:gd name="T10" fmla="*/ 2 w 15"/>
                  <a:gd name="T1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43" name="Freeform 388"/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4 w 37"/>
                  <a:gd name="T1" fmla="*/ 4 h 33"/>
                  <a:gd name="T2" fmla="*/ 22 w 37"/>
                  <a:gd name="T3" fmla="*/ 0 h 33"/>
                  <a:gd name="T4" fmla="*/ 35 w 37"/>
                  <a:gd name="T5" fmla="*/ 6 h 33"/>
                  <a:gd name="T6" fmla="*/ 37 w 37"/>
                  <a:gd name="T7" fmla="*/ 22 h 33"/>
                  <a:gd name="T8" fmla="*/ 24 w 37"/>
                  <a:gd name="T9" fmla="*/ 33 h 33"/>
                  <a:gd name="T10" fmla="*/ 11 w 37"/>
                  <a:gd name="T11" fmla="*/ 33 h 33"/>
                  <a:gd name="T12" fmla="*/ 2 w 37"/>
                  <a:gd name="T13" fmla="*/ 24 h 33"/>
                  <a:gd name="T14" fmla="*/ 0 w 37"/>
                  <a:gd name="T15" fmla="*/ 16 h 33"/>
                  <a:gd name="T16" fmla="*/ 4 w 37"/>
                  <a:gd name="T17" fmla="*/ 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44" name="Freeform 389"/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2 w 49"/>
                  <a:gd name="T1" fmla="*/ 0 h 54"/>
                  <a:gd name="T2" fmla="*/ 0 w 49"/>
                  <a:gd name="T3" fmla="*/ 0 h 54"/>
                  <a:gd name="T4" fmla="*/ 2 w 49"/>
                  <a:gd name="T5" fmla="*/ 50 h 54"/>
                  <a:gd name="T6" fmla="*/ 18 w 49"/>
                  <a:gd name="T7" fmla="*/ 54 h 54"/>
                  <a:gd name="T8" fmla="*/ 44 w 49"/>
                  <a:gd name="T9" fmla="*/ 45 h 54"/>
                  <a:gd name="T10" fmla="*/ 49 w 49"/>
                  <a:gd name="T11" fmla="*/ 31 h 54"/>
                  <a:gd name="T12" fmla="*/ 40 w 49"/>
                  <a:gd name="T13" fmla="*/ 21 h 54"/>
                  <a:gd name="T14" fmla="*/ 19 w 49"/>
                  <a:gd name="T15" fmla="*/ 8 h 54"/>
                  <a:gd name="T16" fmla="*/ 2 w 49"/>
                  <a:gd name="T1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45" name="Freeform 390"/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18 w 26"/>
                  <a:gd name="T1" fmla="*/ 0 h 22"/>
                  <a:gd name="T2" fmla="*/ 3 w 26"/>
                  <a:gd name="T3" fmla="*/ 2 h 22"/>
                  <a:gd name="T4" fmla="*/ 0 w 26"/>
                  <a:gd name="T5" fmla="*/ 15 h 22"/>
                  <a:gd name="T6" fmla="*/ 6 w 26"/>
                  <a:gd name="T7" fmla="*/ 21 h 22"/>
                  <a:gd name="T8" fmla="*/ 19 w 26"/>
                  <a:gd name="T9" fmla="*/ 22 h 22"/>
                  <a:gd name="T10" fmla="*/ 26 w 26"/>
                  <a:gd name="T11" fmla="*/ 11 h 22"/>
                  <a:gd name="T12" fmla="*/ 18 w 26"/>
                  <a:gd name="T1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</p:grpSp>
        <p:grpSp>
          <p:nvGrpSpPr>
            <p:cNvPr id="276" name="Group 391"/>
            <p:cNvGrpSpPr>
              <a:grpSpLocks/>
            </p:cNvGrpSpPr>
            <p:nvPr>
              <p:custDataLst>
                <p:tags r:id="rId270"/>
              </p:custDataLst>
            </p:nvPr>
          </p:nvGrpSpPr>
          <p:grpSpPr bwMode="auto">
            <a:xfrm>
              <a:off x="1187450" y="1196975"/>
              <a:ext cx="1897063" cy="1133475"/>
              <a:chOff x="527" y="1110"/>
              <a:chExt cx="1410" cy="709"/>
            </a:xfrm>
            <a:solidFill>
              <a:schemeClr val="accent2"/>
            </a:solidFill>
          </p:grpSpPr>
          <p:sp>
            <p:nvSpPr>
              <p:cNvPr id="398" name="Freeform 392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41 h 54"/>
                  <a:gd name="T2" fmla="*/ 5 w 98"/>
                  <a:gd name="T3" fmla="*/ 46 h 54"/>
                  <a:gd name="T4" fmla="*/ 13 w 98"/>
                  <a:gd name="T5" fmla="*/ 50 h 54"/>
                  <a:gd name="T6" fmla="*/ 23 w 98"/>
                  <a:gd name="T7" fmla="*/ 53 h 54"/>
                  <a:gd name="T8" fmla="*/ 32 w 98"/>
                  <a:gd name="T9" fmla="*/ 54 h 54"/>
                  <a:gd name="T10" fmla="*/ 38 w 98"/>
                  <a:gd name="T11" fmla="*/ 54 h 54"/>
                  <a:gd name="T12" fmla="*/ 45 w 98"/>
                  <a:gd name="T13" fmla="*/ 53 h 54"/>
                  <a:gd name="T14" fmla="*/ 50 w 98"/>
                  <a:gd name="T15" fmla="*/ 51 h 54"/>
                  <a:gd name="T16" fmla="*/ 56 w 98"/>
                  <a:gd name="T17" fmla="*/ 49 h 54"/>
                  <a:gd name="T18" fmla="*/ 67 w 98"/>
                  <a:gd name="T19" fmla="*/ 42 h 54"/>
                  <a:gd name="T20" fmla="*/ 75 w 98"/>
                  <a:gd name="T21" fmla="*/ 35 h 54"/>
                  <a:gd name="T22" fmla="*/ 84 w 98"/>
                  <a:gd name="T23" fmla="*/ 28 h 54"/>
                  <a:gd name="T24" fmla="*/ 91 w 98"/>
                  <a:gd name="T25" fmla="*/ 20 h 54"/>
                  <a:gd name="T26" fmla="*/ 95 w 98"/>
                  <a:gd name="T27" fmla="*/ 12 h 54"/>
                  <a:gd name="T28" fmla="*/ 98 w 98"/>
                  <a:gd name="T29" fmla="*/ 4 h 54"/>
                  <a:gd name="T30" fmla="*/ 91 w 98"/>
                  <a:gd name="T31" fmla="*/ 2 h 54"/>
                  <a:gd name="T32" fmla="*/ 83 w 98"/>
                  <a:gd name="T33" fmla="*/ 0 h 54"/>
                  <a:gd name="T34" fmla="*/ 75 w 98"/>
                  <a:gd name="T35" fmla="*/ 0 h 54"/>
                  <a:gd name="T36" fmla="*/ 68 w 98"/>
                  <a:gd name="T37" fmla="*/ 0 h 54"/>
                  <a:gd name="T38" fmla="*/ 59 w 98"/>
                  <a:gd name="T39" fmla="*/ 1 h 54"/>
                  <a:gd name="T40" fmla="*/ 51 w 98"/>
                  <a:gd name="T41" fmla="*/ 3 h 54"/>
                  <a:gd name="T42" fmla="*/ 43 w 98"/>
                  <a:gd name="T43" fmla="*/ 6 h 54"/>
                  <a:gd name="T44" fmla="*/ 37 w 98"/>
                  <a:gd name="T45" fmla="*/ 9 h 54"/>
                  <a:gd name="T46" fmla="*/ 23 w 98"/>
                  <a:gd name="T47" fmla="*/ 17 h 54"/>
                  <a:gd name="T48" fmla="*/ 12 w 98"/>
                  <a:gd name="T49" fmla="*/ 25 h 54"/>
                  <a:gd name="T50" fmla="*/ 7 w 98"/>
                  <a:gd name="T51" fmla="*/ 29 h 54"/>
                  <a:gd name="T52" fmla="*/ 4 w 98"/>
                  <a:gd name="T53" fmla="*/ 33 h 54"/>
                  <a:gd name="T54" fmla="*/ 1 w 98"/>
                  <a:gd name="T55" fmla="*/ 37 h 54"/>
                  <a:gd name="T56" fmla="*/ 0 w 98"/>
                  <a:gd name="T57" fmla="*/ 4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399" name="Freeform 393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27 h 28"/>
                  <a:gd name="T2" fmla="*/ 11 w 67"/>
                  <a:gd name="T3" fmla="*/ 28 h 28"/>
                  <a:gd name="T4" fmla="*/ 21 w 67"/>
                  <a:gd name="T5" fmla="*/ 27 h 28"/>
                  <a:gd name="T6" fmla="*/ 31 w 67"/>
                  <a:gd name="T7" fmla="*/ 25 h 28"/>
                  <a:gd name="T8" fmla="*/ 41 w 67"/>
                  <a:gd name="T9" fmla="*/ 21 h 28"/>
                  <a:gd name="T10" fmla="*/ 49 w 67"/>
                  <a:gd name="T11" fmla="*/ 17 h 28"/>
                  <a:gd name="T12" fmla="*/ 57 w 67"/>
                  <a:gd name="T13" fmla="*/ 12 h 28"/>
                  <a:gd name="T14" fmla="*/ 63 w 67"/>
                  <a:gd name="T15" fmla="*/ 7 h 28"/>
                  <a:gd name="T16" fmla="*/ 67 w 67"/>
                  <a:gd name="T17" fmla="*/ 3 h 28"/>
                  <a:gd name="T18" fmla="*/ 57 w 67"/>
                  <a:gd name="T19" fmla="*/ 1 h 28"/>
                  <a:gd name="T20" fmla="*/ 46 w 67"/>
                  <a:gd name="T21" fmla="*/ 0 h 28"/>
                  <a:gd name="T22" fmla="*/ 36 w 67"/>
                  <a:gd name="T23" fmla="*/ 1 h 28"/>
                  <a:gd name="T24" fmla="*/ 26 w 67"/>
                  <a:gd name="T25" fmla="*/ 3 h 28"/>
                  <a:gd name="T26" fmla="*/ 17 w 67"/>
                  <a:gd name="T27" fmla="*/ 7 h 28"/>
                  <a:gd name="T28" fmla="*/ 10 w 67"/>
                  <a:gd name="T29" fmla="*/ 12 h 28"/>
                  <a:gd name="T30" fmla="*/ 7 w 67"/>
                  <a:gd name="T31" fmla="*/ 15 h 28"/>
                  <a:gd name="T32" fmla="*/ 4 w 67"/>
                  <a:gd name="T33" fmla="*/ 19 h 28"/>
                  <a:gd name="T34" fmla="*/ 2 w 67"/>
                  <a:gd name="T35" fmla="*/ 22 h 28"/>
                  <a:gd name="T36" fmla="*/ 0 w 67"/>
                  <a:gd name="T37" fmla="*/ 2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00" name="Freeform 394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18 h 36"/>
                  <a:gd name="T2" fmla="*/ 1 w 32"/>
                  <a:gd name="T3" fmla="*/ 24 h 36"/>
                  <a:gd name="T4" fmla="*/ 4 w 32"/>
                  <a:gd name="T5" fmla="*/ 29 h 36"/>
                  <a:gd name="T6" fmla="*/ 6 w 32"/>
                  <a:gd name="T7" fmla="*/ 32 h 36"/>
                  <a:gd name="T8" fmla="*/ 8 w 32"/>
                  <a:gd name="T9" fmla="*/ 34 h 36"/>
                  <a:gd name="T10" fmla="*/ 11 w 32"/>
                  <a:gd name="T11" fmla="*/ 36 h 36"/>
                  <a:gd name="T12" fmla="*/ 13 w 32"/>
                  <a:gd name="T13" fmla="*/ 36 h 36"/>
                  <a:gd name="T14" fmla="*/ 32 w 32"/>
                  <a:gd name="T15" fmla="*/ 36 h 36"/>
                  <a:gd name="T16" fmla="*/ 32 w 32"/>
                  <a:gd name="T17" fmla="*/ 22 h 36"/>
                  <a:gd name="T18" fmla="*/ 31 w 32"/>
                  <a:gd name="T19" fmla="*/ 14 h 36"/>
                  <a:gd name="T20" fmla="*/ 30 w 32"/>
                  <a:gd name="T21" fmla="*/ 7 h 36"/>
                  <a:gd name="T22" fmla="*/ 26 w 32"/>
                  <a:gd name="T23" fmla="*/ 0 h 36"/>
                  <a:gd name="T24" fmla="*/ 19 w 32"/>
                  <a:gd name="T25" fmla="*/ 2 h 36"/>
                  <a:gd name="T26" fmla="*/ 11 w 32"/>
                  <a:gd name="T27" fmla="*/ 7 h 36"/>
                  <a:gd name="T28" fmla="*/ 6 w 32"/>
                  <a:gd name="T29" fmla="*/ 10 h 36"/>
                  <a:gd name="T30" fmla="*/ 3 w 32"/>
                  <a:gd name="T31" fmla="*/ 13 h 36"/>
                  <a:gd name="T32" fmla="*/ 1 w 32"/>
                  <a:gd name="T33" fmla="*/ 16 h 36"/>
                  <a:gd name="T34" fmla="*/ 0 w 32"/>
                  <a:gd name="T35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01" name="Freeform 395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43 h 52"/>
                  <a:gd name="T2" fmla="*/ 11 w 146"/>
                  <a:gd name="T3" fmla="*/ 46 h 52"/>
                  <a:gd name="T4" fmla="*/ 22 w 146"/>
                  <a:gd name="T5" fmla="*/ 48 h 52"/>
                  <a:gd name="T6" fmla="*/ 33 w 146"/>
                  <a:gd name="T7" fmla="*/ 51 h 52"/>
                  <a:gd name="T8" fmla="*/ 43 w 146"/>
                  <a:gd name="T9" fmla="*/ 52 h 52"/>
                  <a:gd name="T10" fmla="*/ 63 w 146"/>
                  <a:gd name="T11" fmla="*/ 52 h 52"/>
                  <a:gd name="T12" fmla="*/ 82 w 146"/>
                  <a:gd name="T13" fmla="*/ 51 h 52"/>
                  <a:gd name="T14" fmla="*/ 117 w 146"/>
                  <a:gd name="T15" fmla="*/ 46 h 52"/>
                  <a:gd name="T16" fmla="*/ 146 w 146"/>
                  <a:gd name="T17" fmla="*/ 43 h 52"/>
                  <a:gd name="T18" fmla="*/ 144 w 146"/>
                  <a:gd name="T19" fmla="*/ 36 h 52"/>
                  <a:gd name="T20" fmla="*/ 142 w 146"/>
                  <a:gd name="T21" fmla="*/ 30 h 52"/>
                  <a:gd name="T22" fmla="*/ 139 w 146"/>
                  <a:gd name="T23" fmla="*/ 24 h 52"/>
                  <a:gd name="T24" fmla="*/ 137 w 146"/>
                  <a:gd name="T25" fmla="*/ 19 h 52"/>
                  <a:gd name="T26" fmla="*/ 134 w 146"/>
                  <a:gd name="T27" fmla="*/ 15 h 52"/>
                  <a:gd name="T28" fmla="*/ 129 w 146"/>
                  <a:gd name="T29" fmla="*/ 11 h 52"/>
                  <a:gd name="T30" fmla="*/ 125 w 146"/>
                  <a:gd name="T31" fmla="*/ 8 h 52"/>
                  <a:gd name="T32" fmla="*/ 121 w 146"/>
                  <a:gd name="T33" fmla="*/ 6 h 52"/>
                  <a:gd name="T34" fmla="*/ 111 w 146"/>
                  <a:gd name="T35" fmla="*/ 2 h 52"/>
                  <a:gd name="T36" fmla="*/ 101 w 146"/>
                  <a:gd name="T37" fmla="*/ 0 h 52"/>
                  <a:gd name="T38" fmla="*/ 89 w 146"/>
                  <a:gd name="T39" fmla="*/ 1 h 52"/>
                  <a:gd name="T40" fmla="*/ 78 w 146"/>
                  <a:gd name="T41" fmla="*/ 2 h 52"/>
                  <a:gd name="T42" fmla="*/ 66 w 146"/>
                  <a:gd name="T43" fmla="*/ 5 h 52"/>
                  <a:gd name="T44" fmla="*/ 54 w 146"/>
                  <a:gd name="T45" fmla="*/ 9 h 52"/>
                  <a:gd name="T46" fmla="*/ 43 w 146"/>
                  <a:gd name="T47" fmla="*/ 14 h 52"/>
                  <a:gd name="T48" fmla="*/ 32 w 146"/>
                  <a:gd name="T49" fmla="*/ 19 h 52"/>
                  <a:gd name="T50" fmla="*/ 22 w 146"/>
                  <a:gd name="T51" fmla="*/ 25 h 52"/>
                  <a:gd name="T52" fmla="*/ 13 w 146"/>
                  <a:gd name="T53" fmla="*/ 31 h 52"/>
                  <a:gd name="T54" fmla="*/ 5 w 146"/>
                  <a:gd name="T55" fmla="*/ 37 h 52"/>
                  <a:gd name="T56" fmla="*/ 0 w 146"/>
                  <a:gd name="T57" fmla="*/ 43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02" name="Freeform 396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60 w 60"/>
                  <a:gd name="T1" fmla="*/ 0 h 31"/>
                  <a:gd name="T2" fmla="*/ 49 w 60"/>
                  <a:gd name="T3" fmla="*/ 0 h 31"/>
                  <a:gd name="T4" fmla="*/ 38 w 60"/>
                  <a:gd name="T5" fmla="*/ 0 h 31"/>
                  <a:gd name="T6" fmla="*/ 31 w 60"/>
                  <a:gd name="T7" fmla="*/ 0 h 31"/>
                  <a:gd name="T8" fmla="*/ 27 w 60"/>
                  <a:gd name="T9" fmla="*/ 0 h 31"/>
                  <a:gd name="T10" fmla="*/ 18 w 60"/>
                  <a:gd name="T11" fmla="*/ 0 h 31"/>
                  <a:gd name="T12" fmla="*/ 9 w 60"/>
                  <a:gd name="T13" fmla="*/ 2 h 31"/>
                  <a:gd name="T14" fmla="*/ 5 w 60"/>
                  <a:gd name="T15" fmla="*/ 3 h 31"/>
                  <a:gd name="T16" fmla="*/ 2 w 60"/>
                  <a:gd name="T17" fmla="*/ 5 h 31"/>
                  <a:gd name="T18" fmla="*/ 1 w 60"/>
                  <a:gd name="T19" fmla="*/ 8 h 31"/>
                  <a:gd name="T20" fmla="*/ 0 w 60"/>
                  <a:gd name="T21" fmla="*/ 12 h 31"/>
                  <a:gd name="T22" fmla="*/ 1 w 60"/>
                  <a:gd name="T23" fmla="*/ 15 h 31"/>
                  <a:gd name="T24" fmla="*/ 2 w 60"/>
                  <a:gd name="T25" fmla="*/ 18 h 31"/>
                  <a:gd name="T26" fmla="*/ 5 w 60"/>
                  <a:gd name="T27" fmla="*/ 22 h 31"/>
                  <a:gd name="T28" fmla="*/ 9 w 60"/>
                  <a:gd name="T29" fmla="*/ 24 h 31"/>
                  <a:gd name="T30" fmla="*/ 12 w 60"/>
                  <a:gd name="T31" fmla="*/ 27 h 31"/>
                  <a:gd name="T32" fmla="*/ 18 w 60"/>
                  <a:gd name="T33" fmla="*/ 29 h 31"/>
                  <a:gd name="T34" fmla="*/ 22 w 60"/>
                  <a:gd name="T35" fmla="*/ 31 h 31"/>
                  <a:gd name="T36" fmla="*/ 27 w 60"/>
                  <a:gd name="T37" fmla="*/ 31 h 31"/>
                  <a:gd name="T38" fmla="*/ 32 w 60"/>
                  <a:gd name="T39" fmla="*/ 30 h 31"/>
                  <a:gd name="T40" fmla="*/ 37 w 60"/>
                  <a:gd name="T41" fmla="*/ 28 h 31"/>
                  <a:gd name="T42" fmla="*/ 43 w 60"/>
                  <a:gd name="T43" fmla="*/ 24 h 31"/>
                  <a:gd name="T44" fmla="*/ 48 w 60"/>
                  <a:gd name="T45" fmla="*/ 18 h 31"/>
                  <a:gd name="T46" fmla="*/ 57 w 60"/>
                  <a:gd name="T47" fmla="*/ 10 h 31"/>
                  <a:gd name="T48" fmla="*/ 60 w 60"/>
                  <a:gd name="T49" fmla="*/ 6 h 31"/>
                  <a:gd name="T50" fmla="*/ 60 w 60"/>
                  <a:gd name="T5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03" name="Freeform 397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43 h 62"/>
                  <a:gd name="T2" fmla="*/ 1 w 80"/>
                  <a:gd name="T3" fmla="*/ 46 h 62"/>
                  <a:gd name="T4" fmla="*/ 1 w 80"/>
                  <a:gd name="T5" fmla="*/ 49 h 62"/>
                  <a:gd name="T6" fmla="*/ 3 w 80"/>
                  <a:gd name="T7" fmla="*/ 51 h 62"/>
                  <a:gd name="T8" fmla="*/ 4 w 80"/>
                  <a:gd name="T9" fmla="*/ 53 h 62"/>
                  <a:gd name="T10" fmla="*/ 10 w 80"/>
                  <a:gd name="T11" fmla="*/ 57 h 62"/>
                  <a:gd name="T12" fmla="*/ 15 w 80"/>
                  <a:gd name="T13" fmla="*/ 59 h 62"/>
                  <a:gd name="T14" fmla="*/ 28 w 80"/>
                  <a:gd name="T15" fmla="*/ 62 h 62"/>
                  <a:gd name="T16" fmla="*/ 40 w 80"/>
                  <a:gd name="T17" fmla="*/ 62 h 62"/>
                  <a:gd name="T18" fmla="*/ 45 w 80"/>
                  <a:gd name="T19" fmla="*/ 62 h 62"/>
                  <a:gd name="T20" fmla="*/ 49 w 80"/>
                  <a:gd name="T21" fmla="*/ 59 h 62"/>
                  <a:gd name="T22" fmla="*/ 54 w 80"/>
                  <a:gd name="T23" fmla="*/ 57 h 62"/>
                  <a:gd name="T24" fmla="*/ 58 w 80"/>
                  <a:gd name="T25" fmla="*/ 54 h 62"/>
                  <a:gd name="T26" fmla="*/ 65 w 80"/>
                  <a:gd name="T27" fmla="*/ 47 h 62"/>
                  <a:gd name="T28" fmla="*/ 70 w 80"/>
                  <a:gd name="T29" fmla="*/ 38 h 62"/>
                  <a:gd name="T30" fmla="*/ 74 w 80"/>
                  <a:gd name="T31" fmla="*/ 28 h 62"/>
                  <a:gd name="T32" fmla="*/ 78 w 80"/>
                  <a:gd name="T33" fmla="*/ 18 h 62"/>
                  <a:gd name="T34" fmla="*/ 79 w 80"/>
                  <a:gd name="T35" fmla="*/ 8 h 62"/>
                  <a:gd name="T36" fmla="*/ 80 w 80"/>
                  <a:gd name="T37" fmla="*/ 0 h 62"/>
                  <a:gd name="T38" fmla="*/ 71 w 80"/>
                  <a:gd name="T39" fmla="*/ 0 h 62"/>
                  <a:gd name="T40" fmla="*/ 59 w 80"/>
                  <a:gd name="T41" fmla="*/ 3 h 62"/>
                  <a:gd name="T42" fmla="*/ 46 w 80"/>
                  <a:gd name="T43" fmla="*/ 8 h 62"/>
                  <a:gd name="T44" fmla="*/ 33 w 80"/>
                  <a:gd name="T45" fmla="*/ 13 h 62"/>
                  <a:gd name="T46" fmla="*/ 21 w 80"/>
                  <a:gd name="T47" fmla="*/ 19 h 62"/>
                  <a:gd name="T48" fmla="*/ 10 w 80"/>
                  <a:gd name="T49" fmla="*/ 26 h 62"/>
                  <a:gd name="T50" fmla="*/ 6 w 80"/>
                  <a:gd name="T51" fmla="*/ 30 h 62"/>
                  <a:gd name="T52" fmla="*/ 3 w 80"/>
                  <a:gd name="T53" fmla="*/ 34 h 62"/>
                  <a:gd name="T54" fmla="*/ 1 w 80"/>
                  <a:gd name="T55" fmla="*/ 39 h 62"/>
                  <a:gd name="T56" fmla="*/ 0 w 80"/>
                  <a:gd name="T57" fmla="*/ 43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04" name="Freeform 398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80 w 106"/>
                  <a:gd name="T1" fmla="*/ 13 h 49"/>
                  <a:gd name="T2" fmla="*/ 72 w 106"/>
                  <a:gd name="T3" fmla="*/ 12 h 49"/>
                  <a:gd name="T4" fmla="*/ 66 w 106"/>
                  <a:gd name="T5" fmla="*/ 11 h 49"/>
                  <a:gd name="T6" fmla="*/ 59 w 106"/>
                  <a:gd name="T7" fmla="*/ 8 h 49"/>
                  <a:gd name="T8" fmla="*/ 53 w 106"/>
                  <a:gd name="T9" fmla="*/ 6 h 49"/>
                  <a:gd name="T10" fmla="*/ 47 w 106"/>
                  <a:gd name="T11" fmla="*/ 4 h 49"/>
                  <a:gd name="T12" fmla="*/ 41 w 106"/>
                  <a:gd name="T13" fmla="*/ 2 h 49"/>
                  <a:gd name="T14" fmla="*/ 34 w 106"/>
                  <a:gd name="T15" fmla="*/ 0 h 49"/>
                  <a:gd name="T16" fmla="*/ 26 w 106"/>
                  <a:gd name="T17" fmla="*/ 0 h 49"/>
                  <a:gd name="T18" fmla="*/ 15 w 106"/>
                  <a:gd name="T19" fmla="*/ 0 h 49"/>
                  <a:gd name="T20" fmla="*/ 0 w 106"/>
                  <a:gd name="T21" fmla="*/ 0 h 49"/>
                  <a:gd name="T22" fmla="*/ 9 w 106"/>
                  <a:gd name="T23" fmla="*/ 11 h 49"/>
                  <a:gd name="T24" fmla="*/ 17 w 106"/>
                  <a:gd name="T25" fmla="*/ 21 h 49"/>
                  <a:gd name="T26" fmla="*/ 26 w 106"/>
                  <a:gd name="T27" fmla="*/ 29 h 49"/>
                  <a:gd name="T28" fmla="*/ 34 w 106"/>
                  <a:gd name="T29" fmla="*/ 36 h 49"/>
                  <a:gd name="T30" fmla="*/ 42 w 106"/>
                  <a:gd name="T31" fmla="*/ 42 h 49"/>
                  <a:gd name="T32" fmla="*/ 52 w 106"/>
                  <a:gd name="T33" fmla="*/ 46 h 49"/>
                  <a:gd name="T34" fmla="*/ 61 w 106"/>
                  <a:gd name="T35" fmla="*/ 48 h 49"/>
                  <a:gd name="T36" fmla="*/ 72 w 106"/>
                  <a:gd name="T37" fmla="*/ 49 h 49"/>
                  <a:gd name="T38" fmla="*/ 79 w 106"/>
                  <a:gd name="T39" fmla="*/ 48 h 49"/>
                  <a:gd name="T40" fmla="*/ 87 w 106"/>
                  <a:gd name="T41" fmla="*/ 45 h 49"/>
                  <a:gd name="T42" fmla="*/ 97 w 106"/>
                  <a:gd name="T43" fmla="*/ 39 h 49"/>
                  <a:gd name="T44" fmla="*/ 106 w 106"/>
                  <a:gd name="T45" fmla="*/ 31 h 49"/>
                  <a:gd name="T46" fmla="*/ 101 w 106"/>
                  <a:gd name="T47" fmla="*/ 30 h 49"/>
                  <a:gd name="T48" fmla="*/ 98 w 106"/>
                  <a:gd name="T49" fmla="*/ 28 h 49"/>
                  <a:gd name="T50" fmla="*/ 93 w 106"/>
                  <a:gd name="T51" fmla="*/ 25 h 49"/>
                  <a:gd name="T52" fmla="*/ 90 w 106"/>
                  <a:gd name="T53" fmla="*/ 22 h 49"/>
                  <a:gd name="T54" fmla="*/ 88 w 106"/>
                  <a:gd name="T55" fmla="*/ 19 h 49"/>
                  <a:gd name="T56" fmla="*/ 84 w 106"/>
                  <a:gd name="T57" fmla="*/ 16 h 49"/>
                  <a:gd name="T58" fmla="*/ 82 w 106"/>
                  <a:gd name="T59" fmla="*/ 14 h 49"/>
                  <a:gd name="T60" fmla="*/ 80 w 106"/>
                  <a:gd name="T61" fmla="*/ 13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05" name="Freeform 399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19 h 22"/>
                  <a:gd name="T2" fmla="*/ 5 w 47"/>
                  <a:gd name="T3" fmla="*/ 21 h 22"/>
                  <a:gd name="T4" fmla="*/ 12 w 47"/>
                  <a:gd name="T5" fmla="*/ 22 h 22"/>
                  <a:gd name="T6" fmla="*/ 18 w 47"/>
                  <a:gd name="T7" fmla="*/ 22 h 22"/>
                  <a:gd name="T8" fmla="*/ 26 w 47"/>
                  <a:gd name="T9" fmla="*/ 21 h 22"/>
                  <a:gd name="T10" fmla="*/ 33 w 47"/>
                  <a:gd name="T11" fmla="*/ 19 h 22"/>
                  <a:gd name="T12" fmla="*/ 38 w 47"/>
                  <a:gd name="T13" fmla="*/ 15 h 22"/>
                  <a:gd name="T14" fmla="*/ 41 w 47"/>
                  <a:gd name="T15" fmla="*/ 12 h 22"/>
                  <a:gd name="T16" fmla="*/ 44 w 47"/>
                  <a:gd name="T17" fmla="*/ 9 h 22"/>
                  <a:gd name="T18" fmla="*/ 45 w 47"/>
                  <a:gd name="T19" fmla="*/ 5 h 22"/>
                  <a:gd name="T20" fmla="*/ 47 w 47"/>
                  <a:gd name="T21" fmla="*/ 0 h 22"/>
                  <a:gd name="T22" fmla="*/ 0 w 47"/>
                  <a:gd name="T23" fmla="*/ 1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06" name="Freeform 400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53 w 53"/>
                  <a:gd name="T1" fmla="*/ 0 h 32"/>
                  <a:gd name="T2" fmla="*/ 37 w 53"/>
                  <a:gd name="T3" fmla="*/ 9 h 32"/>
                  <a:gd name="T4" fmla="*/ 23 w 53"/>
                  <a:gd name="T5" fmla="*/ 18 h 32"/>
                  <a:gd name="T6" fmla="*/ 11 w 53"/>
                  <a:gd name="T7" fmla="*/ 26 h 32"/>
                  <a:gd name="T8" fmla="*/ 0 w 53"/>
                  <a:gd name="T9" fmla="*/ 32 h 32"/>
                  <a:gd name="T10" fmla="*/ 13 w 53"/>
                  <a:gd name="T11" fmla="*/ 32 h 32"/>
                  <a:gd name="T12" fmla="*/ 26 w 53"/>
                  <a:gd name="T13" fmla="*/ 32 h 32"/>
                  <a:gd name="T14" fmla="*/ 39 w 53"/>
                  <a:gd name="T15" fmla="*/ 32 h 32"/>
                  <a:gd name="T16" fmla="*/ 53 w 53"/>
                  <a:gd name="T17" fmla="*/ 32 h 32"/>
                  <a:gd name="T18" fmla="*/ 53 w 53"/>
                  <a:gd name="T19" fmla="*/ 24 h 32"/>
                  <a:gd name="T20" fmla="*/ 53 w 53"/>
                  <a:gd name="T21" fmla="*/ 16 h 32"/>
                  <a:gd name="T22" fmla="*/ 53 w 53"/>
                  <a:gd name="T23" fmla="*/ 9 h 32"/>
                  <a:gd name="T24" fmla="*/ 53 w 53"/>
                  <a:gd name="T2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07" name="Freeform 401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27 w 46"/>
                  <a:gd name="T1" fmla="*/ 3 h 34"/>
                  <a:gd name="T2" fmla="*/ 0 w 46"/>
                  <a:gd name="T3" fmla="*/ 16 h 34"/>
                  <a:gd name="T4" fmla="*/ 0 w 46"/>
                  <a:gd name="T5" fmla="*/ 34 h 34"/>
                  <a:gd name="T6" fmla="*/ 27 w 46"/>
                  <a:gd name="T7" fmla="*/ 34 h 34"/>
                  <a:gd name="T8" fmla="*/ 31 w 46"/>
                  <a:gd name="T9" fmla="*/ 32 h 34"/>
                  <a:gd name="T10" fmla="*/ 35 w 46"/>
                  <a:gd name="T11" fmla="*/ 28 h 34"/>
                  <a:gd name="T12" fmla="*/ 39 w 46"/>
                  <a:gd name="T13" fmla="*/ 25 h 34"/>
                  <a:gd name="T14" fmla="*/ 42 w 46"/>
                  <a:gd name="T15" fmla="*/ 21 h 34"/>
                  <a:gd name="T16" fmla="*/ 44 w 46"/>
                  <a:gd name="T17" fmla="*/ 17 h 34"/>
                  <a:gd name="T18" fmla="*/ 45 w 46"/>
                  <a:gd name="T19" fmla="*/ 13 h 34"/>
                  <a:gd name="T20" fmla="*/ 46 w 46"/>
                  <a:gd name="T21" fmla="*/ 8 h 34"/>
                  <a:gd name="T22" fmla="*/ 46 w 46"/>
                  <a:gd name="T23" fmla="*/ 3 h 34"/>
                  <a:gd name="T24" fmla="*/ 46 w 46"/>
                  <a:gd name="T25" fmla="*/ 1 h 34"/>
                  <a:gd name="T26" fmla="*/ 44 w 46"/>
                  <a:gd name="T27" fmla="*/ 0 h 34"/>
                  <a:gd name="T28" fmla="*/ 42 w 46"/>
                  <a:gd name="T29" fmla="*/ 0 h 34"/>
                  <a:gd name="T30" fmla="*/ 39 w 46"/>
                  <a:gd name="T31" fmla="*/ 0 h 34"/>
                  <a:gd name="T32" fmla="*/ 32 w 46"/>
                  <a:gd name="T33" fmla="*/ 2 h 34"/>
                  <a:gd name="T34" fmla="*/ 27 w 46"/>
                  <a:gd name="T35" fmla="*/ 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08" name="Freeform 402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25 h 25"/>
                  <a:gd name="T2" fmla="*/ 14 w 48"/>
                  <a:gd name="T3" fmla="*/ 25 h 25"/>
                  <a:gd name="T4" fmla="*/ 28 w 48"/>
                  <a:gd name="T5" fmla="*/ 25 h 25"/>
                  <a:gd name="T6" fmla="*/ 30 w 48"/>
                  <a:gd name="T7" fmla="*/ 24 h 25"/>
                  <a:gd name="T8" fmla="*/ 33 w 48"/>
                  <a:gd name="T9" fmla="*/ 22 h 25"/>
                  <a:gd name="T10" fmla="*/ 37 w 48"/>
                  <a:gd name="T11" fmla="*/ 18 h 25"/>
                  <a:gd name="T12" fmla="*/ 40 w 48"/>
                  <a:gd name="T13" fmla="*/ 15 h 25"/>
                  <a:gd name="T14" fmla="*/ 45 w 48"/>
                  <a:gd name="T15" fmla="*/ 7 h 25"/>
                  <a:gd name="T16" fmla="*/ 48 w 48"/>
                  <a:gd name="T17" fmla="*/ 0 h 25"/>
                  <a:gd name="T18" fmla="*/ 40 w 48"/>
                  <a:gd name="T19" fmla="*/ 1 h 25"/>
                  <a:gd name="T20" fmla="*/ 33 w 48"/>
                  <a:gd name="T21" fmla="*/ 2 h 25"/>
                  <a:gd name="T22" fmla="*/ 28 w 48"/>
                  <a:gd name="T23" fmla="*/ 5 h 25"/>
                  <a:gd name="T24" fmla="*/ 21 w 48"/>
                  <a:gd name="T25" fmla="*/ 8 h 25"/>
                  <a:gd name="T26" fmla="*/ 11 w 48"/>
                  <a:gd name="T27" fmla="*/ 16 h 25"/>
                  <a:gd name="T28" fmla="*/ 0 w 48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09" name="Freeform 403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37 h 37"/>
                  <a:gd name="T4" fmla="*/ 11 w 30"/>
                  <a:gd name="T5" fmla="*/ 36 h 37"/>
                  <a:gd name="T6" fmla="*/ 20 w 30"/>
                  <a:gd name="T7" fmla="*/ 34 h 37"/>
                  <a:gd name="T8" fmla="*/ 22 w 30"/>
                  <a:gd name="T9" fmla="*/ 33 h 37"/>
                  <a:gd name="T10" fmla="*/ 26 w 30"/>
                  <a:gd name="T11" fmla="*/ 32 h 37"/>
                  <a:gd name="T12" fmla="*/ 28 w 30"/>
                  <a:gd name="T13" fmla="*/ 30 h 37"/>
                  <a:gd name="T14" fmla="*/ 29 w 30"/>
                  <a:gd name="T15" fmla="*/ 28 h 37"/>
                  <a:gd name="T16" fmla="*/ 30 w 30"/>
                  <a:gd name="T17" fmla="*/ 23 h 37"/>
                  <a:gd name="T18" fmla="*/ 30 w 30"/>
                  <a:gd name="T19" fmla="*/ 16 h 37"/>
                  <a:gd name="T20" fmla="*/ 29 w 30"/>
                  <a:gd name="T21" fmla="*/ 9 h 37"/>
                  <a:gd name="T22" fmla="*/ 27 w 30"/>
                  <a:gd name="T23" fmla="*/ 0 h 37"/>
                  <a:gd name="T24" fmla="*/ 0 w 30"/>
                  <a:gd name="T25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10" name="Freeform 404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33 w 113"/>
                  <a:gd name="T1" fmla="*/ 3 h 46"/>
                  <a:gd name="T2" fmla="*/ 22 w 113"/>
                  <a:gd name="T3" fmla="*/ 3 h 46"/>
                  <a:gd name="T4" fmla="*/ 12 w 113"/>
                  <a:gd name="T5" fmla="*/ 5 h 46"/>
                  <a:gd name="T6" fmla="*/ 7 w 113"/>
                  <a:gd name="T7" fmla="*/ 7 h 46"/>
                  <a:gd name="T8" fmla="*/ 3 w 113"/>
                  <a:gd name="T9" fmla="*/ 11 h 46"/>
                  <a:gd name="T10" fmla="*/ 1 w 113"/>
                  <a:gd name="T11" fmla="*/ 15 h 46"/>
                  <a:gd name="T12" fmla="*/ 0 w 113"/>
                  <a:gd name="T13" fmla="*/ 21 h 46"/>
                  <a:gd name="T14" fmla="*/ 6 w 113"/>
                  <a:gd name="T15" fmla="*/ 27 h 46"/>
                  <a:gd name="T16" fmla="*/ 10 w 113"/>
                  <a:gd name="T17" fmla="*/ 33 h 46"/>
                  <a:gd name="T18" fmla="*/ 16 w 113"/>
                  <a:gd name="T19" fmla="*/ 37 h 46"/>
                  <a:gd name="T20" fmla="*/ 20 w 113"/>
                  <a:gd name="T21" fmla="*/ 41 h 46"/>
                  <a:gd name="T22" fmla="*/ 25 w 113"/>
                  <a:gd name="T23" fmla="*/ 43 h 46"/>
                  <a:gd name="T24" fmla="*/ 30 w 113"/>
                  <a:gd name="T25" fmla="*/ 45 h 46"/>
                  <a:gd name="T26" fmla="*/ 35 w 113"/>
                  <a:gd name="T27" fmla="*/ 46 h 46"/>
                  <a:gd name="T28" fmla="*/ 40 w 113"/>
                  <a:gd name="T29" fmla="*/ 46 h 46"/>
                  <a:gd name="T30" fmla="*/ 56 w 113"/>
                  <a:gd name="T31" fmla="*/ 46 h 46"/>
                  <a:gd name="T32" fmla="*/ 70 w 113"/>
                  <a:gd name="T33" fmla="*/ 43 h 46"/>
                  <a:gd name="T34" fmla="*/ 76 w 113"/>
                  <a:gd name="T35" fmla="*/ 41 h 46"/>
                  <a:gd name="T36" fmla="*/ 81 w 113"/>
                  <a:gd name="T37" fmla="*/ 38 h 46"/>
                  <a:gd name="T38" fmla="*/ 87 w 113"/>
                  <a:gd name="T39" fmla="*/ 36 h 46"/>
                  <a:gd name="T40" fmla="*/ 91 w 113"/>
                  <a:gd name="T41" fmla="*/ 33 h 46"/>
                  <a:gd name="T42" fmla="*/ 99 w 113"/>
                  <a:gd name="T43" fmla="*/ 27 h 46"/>
                  <a:gd name="T44" fmla="*/ 106 w 113"/>
                  <a:gd name="T45" fmla="*/ 20 h 46"/>
                  <a:gd name="T46" fmla="*/ 110 w 113"/>
                  <a:gd name="T47" fmla="*/ 12 h 46"/>
                  <a:gd name="T48" fmla="*/ 113 w 113"/>
                  <a:gd name="T49" fmla="*/ 3 h 46"/>
                  <a:gd name="T50" fmla="*/ 99 w 113"/>
                  <a:gd name="T51" fmla="*/ 1 h 46"/>
                  <a:gd name="T52" fmla="*/ 87 w 113"/>
                  <a:gd name="T53" fmla="*/ 0 h 46"/>
                  <a:gd name="T54" fmla="*/ 76 w 113"/>
                  <a:gd name="T55" fmla="*/ 0 h 46"/>
                  <a:gd name="T56" fmla="*/ 66 w 113"/>
                  <a:gd name="T57" fmla="*/ 1 h 46"/>
                  <a:gd name="T58" fmla="*/ 48 w 113"/>
                  <a:gd name="T59" fmla="*/ 2 h 46"/>
                  <a:gd name="T60" fmla="*/ 33 w 113"/>
                  <a:gd name="T61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11" name="Freeform 405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79 h 82"/>
                  <a:gd name="T2" fmla="*/ 2 w 153"/>
                  <a:gd name="T3" fmla="*/ 81 h 82"/>
                  <a:gd name="T4" fmla="*/ 6 w 153"/>
                  <a:gd name="T5" fmla="*/ 82 h 82"/>
                  <a:gd name="T6" fmla="*/ 10 w 153"/>
                  <a:gd name="T7" fmla="*/ 82 h 82"/>
                  <a:gd name="T8" fmla="*/ 14 w 153"/>
                  <a:gd name="T9" fmla="*/ 82 h 82"/>
                  <a:gd name="T10" fmla="*/ 23 w 153"/>
                  <a:gd name="T11" fmla="*/ 80 h 82"/>
                  <a:gd name="T12" fmla="*/ 33 w 153"/>
                  <a:gd name="T13" fmla="*/ 79 h 82"/>
                  <a:gd name="T14" fmla="*/ 40 w 153"/>
                  <a:gd name="T15" fmla="*/ 79 h 82"/>
                  <a:gd name="T16" fmla="*/ 47 w 153"/>
                  <a:gd name="T17" fmla="*/ 78 h 82"/>
                  <a:gd name="T18" fmla="*/ 56 w 153"/>
                  <a:gd name="T19" fmla="*/ 76 h 82"/>
                  <a:gd name="T20" fmla="*/ 65 w 153"/>
                  <a:gd name="T21" fmla="*/ 74 h 82"/>
                  <a:gd name="T22" fmla="*/ 83 w 153"/>
                  <a:gd name="T23" fmla="*/ 68 h 82"/>
                  <a:gd name="T24" fmla="*/ 103 w 153"/>
                  <a:gd name="T25" fmla="*/ 59 h 82"/>
                  <a:gd name="T26" fmla="*/ 112 w 153"/>
                  <a:gd name="T27" fmla="*/ 54 h 82"/>
                  <a:gd name="T28" fmla="*/ 121 w 153"/>
                  <a:gd name="T29" fmla="*/ 49 h 82"/>
                  <a:gd name="T30" fmla="*/ 129 w 153"/>
                  <a:gd name="T31" fmla="*/ 43 h 82"/>
                  <a:gd name="T32" fmla="*/ 136 w 153"/>
                  <a:gd name="T33" fmla="*/ 38 h 82"/>
                  <a:gd name="T34" fmla="*/ 142 w 153"/>
                  <a:gd name="T35" fmla="*/ 32 h 82"/>
                  <a:gd name="T36" fmla="*/ 147 w 153"/>
                  <a:gd name="T37" fmla="*/ 25 h 82"/>
                  <a:gd name="T38" fmla="*/ 150 w 153"/>
                  <a:gd name="T39" fmla="*/ 19 h 82"/>
                  <a:gd name="T40" fmla="*/ 153 w 153"/>
                  <a:gd name="T41" fmla="*/ 12 h 82"/>
                  <a:gd name="T42" fmla="*/ 134 w 153"/>
                  <a:gd name="T43" fmla="*/ 8 h 82"/>
                  <a:gd name="T44" fmla="*/ 115 w 153"/>
                  <a:gd name="T45" fmla="*/ 3 h 82"/>
                  <a:gd name="T46" fmla="*/ 96 w 153"/>
                  <a:gd name="T47" fmla="*/ 1 h 82"/>
                  <a:gd name="T48" fmla="*/ 77 w 153"/>
                  <a:gd name="T49" fmla="*/ 0 h 82"/>
                  <a:gd name="T50" fmla="*/ 68 w 153"/>
                  <a:gd name="T51" fmla="*/ 1 h 82"/>
                  <a:gd name="T52" fmla="*/ 60 w 153"/>
                  <a:gd name="T53" fmla="*/ 1 h 82"/>
                  <a:gd name="T54" fmla="*/ 52 w 153"/>
                  <a:gd name="T55" fmla="*/ 2 h 82"/>
                  <a:gd name="T56" fmla="*/ 45 w 153"/>
                  <a:gd name="T57" fmla="*/ 4 h 82"/>
                  <a:gd name="T58" fmla="*/ 38 w 153"/>
                  <a:gd name="T59" fmla="*/ 7 h 82"/>
                  <a:gd name="T60" fmla="*/ 34 w 153"/>
                  <a:gd name="T61" fmla="*/ 10 h 82"/>
                  <a:gd name="T62" fmla="*/ 30 w 153"/>
                  <a:gd name="T63" fmla="*/ 14 h 82"/>
                  <a:gd name="T64" fmla="*/ 26 w 153"/>
                  <a:gd name="T65" fmla="*/ 18 h 82"/>
                  <a:gd name="T66" fmla="*/ 32 w 153"/>
                  <a:gd name="T67" fmla="*/ 23 h 82"/>
                  <a:gd name="T68" fmla="*/ 36 w 153"/>
                  <a:gd name="T69" fmla="*/ 29 h 82"/>
                  <a:gd name="T70" fmla="*/ 38 w 153"/>
                  <a:gd name="T71" fmla="*/ 32 h 82"/>
                  <a:gd name="T72" fmla="*/ 42 w 153"/>
                  <a:gd name="T73" fmla="*/ 34 h 82"/>
                  <a:gd name="T74" fmla="*/ 44 w 153"/>
                  <a:gd name="T75" fmla="*/ 36 h 82"/>
                  <a:gd name="T76" fmla="*/ 46 w 153"/>
                  <a:gd name="T77" fmla="*/ 36 h 82"/>
                  <a:gd name="T78" fmla="*/ 40 w 153"/>
                  <a:gd name="T79" fmla="*/ 41 h 82"/>
                  <a:gd name="T80" fmla="*/ 33 w 153"/>
                  <a:gd name="T81" fmla="*/ 46 h 82"/>
                  <a:gd name="T82" fmla="*/ 29 w 153"/>
                  <a:gd name="T83" fmla="*/ 52 h 82"/>
                  <a:gd name="T84" fmla="*/ 23 w 153"/>
                  <a:gd name="T85" fmla="*/ 57 h 82"/>
                  <a:gd name="T86" fmla="*/ 18 w 153"/>
                  <a:gd name="T87" fmla="*/ 64 h 82"/>
                  <a:gd name="T88" fmla="*/ 13 w 153"/>
                  <a:gd name="T89" fmla="*/ 69 h 82"/>
                  <a:gd name="T90" fmla="*/ 7 w 153"/>
                  <a:gd name="T91" fmla="*/ 75 h 82"/>
                  <a:gd name="T92" fmla="*/ 0 w 153"/>
                  <a:gd name="T93" fmla="*/ 79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12" name="Freeform 406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37 h 50"/>
                  <a:gd name="T2" fmla="*/ 5 w 86"/>
                  <a:gd name="T3" fmla="*/ 41 h 50"/>
                  <a:gd name="T4" fmla="*/ 11 w 86"/>
                  <a:gd name="T5" fmla="*/ 44 h 50"/>
                  <a:gd name="T6" fmla="*/ 16 w 86"/>
                  <a:gd name="T7" fmla="*/ 47 h 50"/>
                  <a:gd name="T8" fmla="*/ 23 w 86"/>
                  <a:gd name="T9" fmla="*/ 48 h 50"/>
                  <a:gd name="T10" fmla="*/ 35 w 86"/>
                  <a:gd name="T11" fmla="*/ 49 h 50"/>
                  <a:gd name="T12" fmla="*/ 46 w 86"/>
                  <a:gd name="T13" fmla="*/ 50 h 50"/>
                  <a:gd name="T14" fmla="*/ 58 w 86"/>
                  <a:gd name="T15" fmla="*/ 49 h 50"/>
                  <a:gd name="T16" fmla="*/ 67 w 86"/>
                  <a:gd name="T17" fmla="*/ 48 h 50"/>
                  <a:gd name="T18" fmla="*/ 73 w 86"/>
                  <a:gd name="T19" fmla="*/ 47 h 50"/>
                  <a:gd name="T20" fmla="*/ 79 w 86"/>
                  <a:gd name="T21" fmla="*/ 44 h 50"/>
                  <a:gd name="T22" fmla="*/ 82 w 86"/>
                  <a:gd name="T23" fmla="*/ 41 h 50"/>
                  <a:gd name="T24" fmla="*/ 84 w 86"/>
                  <a:gd name="T25" fmla="*/ 37 h 50"/>
                  <a:gd name="T26" fmla="*/ 85 w 86"/>
                  <a:gd name="T27" fmla="*/ 32 h 50"/>
                  <a:gd name="T28" fmla="*/ 86 w 86"/>
                  <a:gd name="T29" fmla="*/ 25 h 50"/>
                  <a:gd name="T30" fmla="*/ 85 w 86"/>
                  <a:gd name="T31" fmla="*/ 17 h 50"/>
                  <a:gd name="T32" fmla="*/ 84 w 86"/>
                  <a:gd name="T33" fmla="*/ 10 h 50"/>
                  <a:gd name="T34" fmla="*/ 83 w 86"/>
                  <a:gd name="T35" fmla="*/ 7 h 50"/>
                  <a:gd name="T36" fmla="*/ 81 w 86"/>
                  <a:gd name="T37" fmla="*/ 5 h 50"/>
                  <a:gd name="T38" fmla="*/ 77 w 86"/>
                  <a:gd name="T39" fmla="*/ 2 h 50"/>
                  <a:gd name="T40" fmla="*/ 73 w 86"/>
                  <a:gd name="T41" fmla="*/ 0 h 50"/>
                  <a:gd name="T42" fmla="*/ 0 w 86"/>
                  <a:gd name="T43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13" name="Freeform 407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119 w 172"/>
                  <a:gd name="T1" fmla="*/ 61 h 74"/>
                  <a:gd name="T2" fmla="*/ 109 w 172"/>
                  <a:gd name="T3" fmla="*/ 61 h 74"/>
                  <a:gd name="T4" fmla="*/ 99 w 172"/>
                  <a:gd name="T5" fmla="*/ 61 h 74"/>
                  <a:gd name="T6" fmla="*/ 90 w 172"/>
                  <a:gd name="T7" fmla="*/ 61 h 74"/>
                  <a:gd name="T8" fmla="*/ 80 w 172"/>
                  <a:gd name="T9" fmla="*/ 61 h 74"/>
                  <a:gd name="T10" fmla="*/ 60 w 172"/>
                  <a:gd name="T11" fmla="*/ 74 h 74"/>
                  <a:gd name="T12" fmla="*/ 33 w 172"/>
                  <a:gd name="T13" fmla="*/ 74 h 74"/>
                  <a:gd name="T14" fmla="*/ 36 w 172"/>
                  <a:gd name="T15" fmla="*/ 61 h 74"/>
                  <a:gd name="T16" fmla="*/ 39 w 172"/>
                  <a:gd name="T17" fmla="*/ 49 h 74"/>
                  <a:gd name="T18" fmla="*/ 30 w 172"/>
                  <a:gd name="T19" fmla="*/ 49 h 74"/>
                  <a:gd name="T20" fmla="*/ 23 w 172"/>
                  <a:gd name="T21" fmla="*/ 48 h 74"/>
                  <a:gd name="T22" fmla="*/ 15 w 172"/>
                  <a:gd name="T23" fmla="*/ 47 h 74"/>
                  <a:gd name="T24" fmla="*/ 9 w 172"/>
                  <a:gd name="T25" fmla="*/ 45 h 74"/>
                  <a:gd name="T26" fmla="*/ 5 w 172"/>
                  <a:gd name="T27" fmla="*/ 42 h 74"/>
                  <a:gd name="T28" fmla="*/ 2 w 172"/>
                  <a:gd name="T29" fmla="*/ 39 h 74"/>
                  <a:gd name="T30" fmla="*/ 1 w 172"/>
                  <a:gd name="T31" fmla="*/ 35 h 74"/>
                  <a:gd name="T32" fmla="*/ 0 w 172"/>
                  <a:gd name="T33" fmla="*/ 31 h 74"/>
                  <a:gd name="T34" fmla="*/ 1 w 172"/>
                  <a:gd name="T35" fmla="*/ 26 h 74"/>
                  <a:gd name="T36" fmla="*/ 2 w 172"/>
                  <a:gd name="T37" fmla="*/ 21 h 74"/>
                  <a:gd name="T38" fmla="*/ 5 w 172"/>
                  <a:gd name="T39" fmla="*/ 17 h 74"/>
                  <a:gd name="T40" fmla="*/ 8 w 172"/>
                  <a:gd name="T41" fmla="*/ 14 h 74"/>
                  <a:gd name="T42" fmla="*/ 13 w 172"/>
                  <a:gd name="T43" fmla="*/ 10 h 74"/>
                  <a:gd name="T44" fmla="*/ 18 w 172"/>
                  <a:gd name="T45" fmla="*/ 7 h 74"/>
                  <a:gd name="T46" fmla="*/ 24 w 172"/>
                  <a:gd name="T47" fmla="*/ 5 h 74"/>
                  <a:gd name="T48" fmla="*/ 29 w 172"/>
                  <a:gd name="T49" fmla="*/ 4 h 74"/>
                  <a:gd name="T50" fmla="*/ 42 w 172"/>
                  <a:gd name="T51" fmla="*/ 1 h 74"/>
                  <a:gd name="T52" fmla="*/ 56 w 172"/>
                  <a:gd name="T53" fmla="*/ 0 h 74"/>
                  <a:gd name="T54" fmla="*/ 69 w 172"/>
                  <a:gd name="T55" fmla="*/ 0 h 74"/>
                  <a:gd name="T56" fmla="*/ 80 w 172"/>
                  <a:gd name="T57" fmla="*/ 0 h 74"/>
                  <a:gd name="T58" fmla="*/ 94 w 172"/>
                  <a:gd name="T59" fmla="*/ 1 h 74"/>
                  <a:gd name="T60" fmla="*/ 106 w 172"/>
                  <a:gd name="T61" fmla="*/ 4 h 74"/>
                  <a:gd name="T62" fmla="*/ 117 w 172"/>
                  <a:gd name="T63" fmla="*/ 7 h 74"/>
                  <a:gd name="T64" fmla="*/ 128 w 172"/>
                  <a:gd name="T65" fmla="*/ 13 h 74"/>
                  <a:gd name="T66" fmla="*/ 139 w 172"/>
                  <a:gd name="T67" fmla="*/ 17 h 74"/>
                  <a:gd name="T68" fmla="*/ 150 w 172"/>
                  <a:gd name="T69" fmla="*/ 21 h 74"/>
                  <a:gd name="T70" fmla="*/ 161 w 172"/>
                  <a:gd name="T71" fmla="*/ 24 h 74"/>
                  <a:gd name="T72" fmla="*/ 172 w 172"/>
                  <a:gd name="T73" fmla="*/ 25 h 74"/>
                  <a:gd name="T74" fmla="*/ 172 w 172"/>
                  <a:gd name="T75" fmla="*/ 43 h 74"/>
                  <a:gd name="T76" fmla="*/ 169 w 172"/>
                  <a:gd name="T77" fmla="*/ 48 h 74"/>
                  <a:gd name="T78" fmla="*/ 165 w 172"/>
                  <a:gd name="T79" fmla="*/ 53 h 74"/>
                  <a:gd name="T80" fmla="*/ 161 w 172"/>
                  <a:gd name="T81" fmla="*/ 57 h 74"/>
                  <a:gd name="T82" fmla="*/ 158 w 172"/>
                  <a:gd name="T83" fmla="*/ 60 h 74"/>
                  <a:gd name="T84" fmla="*/ 153 w 172"/>
                  <a:gd name="T85" fmla="*/ 62 h 74"/>
                  <a:gd name="T86" fmla="*/ 149 w 172"/>
                  <a:gd name="T87" fmla="*/ 63 h 74"/>
                  <a:gd name="T88" fmla="*/ 146 w 172"/>
                  <a:gd name="T89" fmla="*/ 65 h 74"/>
                  <a:gd name="T90" fmla="*/ 141 w 172"/>
                  <a:gd name="T91" fmla="*/ 65 h 74"/>
                  <a:gd name="T92" fmla="*/ 131 w 172"/>
                  <a:gd name="T93" fmla="*/ 65 h 74"/>
                  <a:gd name="T94" fmla="*/ 121 w 172"/>
                  <a:gd name="T95" fmla="*/ 63 h 74"/>
                  <a:gd name="T96" fmla="*/ 112 w 172"/>
                  <a:gd name="T97" fmla="*/ 59 h 74"/>
                  <a:gd name="T98" fmla="*/ 99 w 172"/>
                  <a:gd name="T99" fmla="*/ 55 h 74"/>
                  <a:gd name="T100" fmla="*/ 106 w 172"/>
                  <a:gd name="T101" fmla="*/ 55 h 74"/>
                  <a:gd name="T102" fmla="*/ 119 w 172"/>
                  <a:gd name="T103" fmla="*/ 61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14" name="Freeform 408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27 w 120"/>
                  <a:gd name="T1" fmla="*/ 49 h 49"/>
                  <a:gd name="T2" fmla="*/ 47 w 120"/>
                  <a:gd name="T3" fmla="*/ 49 h 49"/>
                  <a:gd name="T4" fmla="*/ 64 w 120"/>
                  <a:gd name="T5" fmla="*/ 48 h 49"/>
                  <a:gd name="T6" fmla="*/ 78 w 120"/>
                  <a:gd name="T7" fmla="*/ 46 h 49"/>
                  <a:gd name="T8" fmla="*/ 90 w 120"/>
                  <a:gd name="T9" fmla="*/ 43 h 49"/>
                  <a:gd name="T10" fmla="*/ 96 w 120"/>
                  <a:gd name="T11" fmla="*/ 39 h 49"/>
                  <a:gd name="T12" fmla="*/ 100 w 120"/>
                  <a:gd name="T13" fmla="*/ 37 h 49"/>
                  <a:gd name="T14" fmla="*/ 104 w 120"/>
                  <a:gd name="T15" fmla="*/ 34 h 49"/>
                  <a:gd name="T16" fmla="*/ 108 w 120"/>
                  <a:gd name="T17" fmla="*/ 31 h 49"/>
                  <a:gd name="T18" fmla="*/ 114 w 120"/>
                  <a:gd name="T19" fmla="*/ 22 h 49"/>
                  <a:gd name="T20" fmla="*/ 120 w 120"/>
                  <a:gd name="T21" fmla="*/ 12 h 49"/>
                  <a:gd name="T22" fmla="*/ 102 w 120"/>
                  <a:gd name="T23" fmla="*/ 6 h 49"/>
                  <a:gd name="T24" fmla="*/ 84 w 120"/>
                  <a:gd name="T25" fmla="*/ 3 h 49"/>
                  <a:gd name="T26" fmla="*/ 66 w 120"/>
                  <a:gd name="T27" fmla="*/ 1 h 49"/>
                  <a:gd name="T28" fmla="*/ 50 w 120"/>
                  <a:gd name="T29" fmla="*/ 0 h 49"/>
                  <a:gd name="T30" fmla="*/ 34 w 120"/>
                  <a:gd name="T31" fmla="*/ 1 h 49"/>
                  <a:gd name="T32" fmla="*/ 20 w 120"/>
                  <a:gd name="T33" fmla="*/ 2 h 49"/>
                  <a:gd name="T34" fmla="*/ 9 w 120"/>
                  <a:gd name="T35" fmla="*/ 4 h 49"/>
                  <a:gd name="T36" fmla="*/ 0 w 120"/>
                  <a:gd name="T37" fmla="*/ 6 h 49"/>
                  <a:gd name="T38" fmla="*/ 0 w 120"/>
                  <a:gd name="T39" fmla="*/ 30 h 49"/>
                  <a:gd name="T40" fmla="*/ 2 w 120"/>
                  <a:gd name="T41" fmla="*/ 35 h 49"/>
                  <a:gd name="T42" fmla="*/ 6 w 120"/>
                  <a:gd name="T43" fmla="*/ 38 h 49"/>
                  <a:gd name="T44" fmla="*/ 9 w 120"/>
                  <a:gd name="T45" fmla="*/ 41 h 49"/>
                  <a:gd name="T46" fmla="*/ 13 w 120"/>
                  <a:gd name="T47" fmla="*/ 45 h 49"/>
                  <a:gd name="T48" fmla="*/ 20 w 120"/>
                  <a:gd name="T49" fmla="*/ 48 h 49"/>
                  <a:gd name="T50" fmla="*/ 27 w 120"/>
                  <a:gd name="T5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15" name="Freeform 409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33 w 85"/>
                  <a:gd name="T1" fmla="*/ 0 h 61"/>
                  <a:gd name="T2" fmla="*/ 22 w 85"/>
                  <a:gd name="T3" fmla="*/ 5 h 61"/>
                  <a:gd name="T4" fmla="*/ 11 w 85"/>
                  <a:gd name="T5" fmla="*/ 12 h 61"/>
                  <a:gd name="T6" fmla="*/ 6 w 85"/>
                  <a:gd name="T7" fmla="*/ 17 h 61"/>
                  <a:gd name="T8" fmla="*/ 3 w 85"/>
                  <a:gd name="T9" fmla="*/ 21 h 61"/>
                  <a:gd name="T10" fmla="*/ 0 w 85"/>
                  <a:gd name="T11" fmla="*/ 25 h 61"/>
                  <a:gd name="T12" fmla="*/ 0 w 85"/>
                  <a:gd name="T13" fmla="*/ 31 h 61"/>
                  <a:gd name="T14" fmla="*/ 0 w 85"/>
                  <a:gd name="T15" fmla="*/ 34 h 61"/>
                  <a:gd name="T16" fmla="*/ 1 w 85"/>
                  <a:gd name="T17" fmla="*/ 37 h 61"/>
                  <a:gd name="T18" fmla="*/ 2 w 85"/>
                  <a:gd name="T19" fmla="*/ 40 h 61"/>
                  <a:gd name="T20" fmla="*/ 5 w 85"/>
                  <a:gd name="T21" fmla="*/ 43 h 61"/>
                  <a:gd name="T22" fmla="*/ 11 w 85"/>
                  <a:gd name="T23" fmla="*/ 48 h 61"/>
                  <a:gd name="T24" fmla="*/ 18 w 85"/>
                  <a:gd name="T25" fmla="*/ 53 h 61"/>
                  <a:gd name="T26" fmla="*/ 27 w 85"/>
                  <a:gd name="T27" fmla="*/ 56 h 61"/>
                  <a:gd name="T28" fmla="*/ 36 w 85"/>
                  <a:gd name="T29" fmla="*/ 59 h 61"/>
                  <a:gd name="T30" fmla="*/ 45 w 85"/>
                  <a:gd name="T31" fmla="*/ 61 h 61"/>
                  <a:gd name="T32" fmla="*/ 53 w 85"/>
                  <a:gd name="T33" fmla="*/ 61 h 61"/>
                  <a:gd name="T34" fmla="*/ 56 w 85"/>
                  <a:gd name="T35" fmla="*/ 61 h 61"/>
                  <a:gd name="T36" fmla="*/ 59 w 85"/>
                  <a:gd name="T37" fmla="*/ 60 h 61"/>
                  <a:gd name="T38" fmla="*/ 62 w 85"/>
                  <a:gd name="T39" fmla="*/ 59 h 61"/>
                  <a:gd name="T40" fmla="*/ 66 w 85"/>
                  <a:gd name="T41" fmla="*/ 57 h 61"/>
                  <a:gd name="T42" fmla="*/ 72 w 85"/>
                  <a:gd name="T43" fmla="*/ 52 h 61"/>
                  <a:gd name="T44" fmla="*/ 77 w 85"/>
                  <a:gd name="T45" fmla="*/ 47 h 61"/>
                  <a:gd name="T46" fmla="*/ 80 w 85"/>
                  <a:gd name="T47" fmla="*/ 40 h 61"/>
                  <a:gd name="T48" fmla="*/ 83 w 85"/>
                  <a:gd name="T49" fmla="*/ 33 h 61"/>
                  <a:gd name="T50" fmla="*/ 85 w 85"/>
                  <a:gd name="T51" fmla="*/ 25 h 61"/>
                  <a:gd name="T52" fmla="*/ 85 w 85"/>
                  <a:gd name="T53" fmla="*/ 18 h 61"/>
                  <a:gd name="T54" fmla="*/ 33 w 85"/>
                  <a:gd name="T55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16" name="Freeform 410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6 h 19"/>
                  <a:gd name="T2" fmla="*/ 7 w 100"/>
                  <a:gd name="T3" fmla="*/ 11 h 19"/>
                  <a:gd name="T4" fmla="*/ 13 w 100"/>
                  <a:gd name="T5" fmla="*/ 15 h 19"/>
                  <a:gd name="T6" fmla="*/ 21 w 100"/>
                  <a:gd name="T7" fmla="*/ 18 h 19"/>
                  <a:gd name="T8" fmla="*/ 27 w 100"/>
                  <a:gd name="T9" fmla="*/ 19 h 19"/>
                  <a:gd name="T10" fmla="*/ 100 w 100"/>
                  <a:gd name="T11" fmla="*/ 6 h 19"/>
                  <a:gd name="T12" fmla="*/ 73 w 100"/>
                  <a:gd name="T13" fmla="*/ 2 h 19"/>
                  <a:gd name="T14" fmla="*/ 47 w 100"/>
                  <a:gd name="T15" fmla="*/ 0 h 19"/>
                  <a:gd name="T16" fmla="*/ 36 w 100"/>
                  <a:gd name="T17" fmla="*/ 0 h 19"/>
                  <a:gd name="T18" fmla="*/ 24 w 100"/>
                  <a:gd name="T19" fmla="*/ 1 h 19"/>
                  <a:gd name="T20" fmla="*/ 12 w 100"/>
                  <a:gd name="T21" fmla="*/ 3 h 19"/>
                  <a:gd name="T22" fmla="*/ 0 w 100"/>
                  <a:gd name="T23" fmla="*/ 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17" name="Freeform 411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27 h 45"/>
                  <a:gd name="T2" fmla="*/ 0 w 166"/>
                  <a:gd name="T3" fmla="*/ 29 h 45"/>
                  <a:gd name="T4" fmla="*/ 3 w 166"/>
                  <a:gd name="T5" fmla="*/ 31 h 45"/>
                  <a:gd name="T6" fmla="*/ 8 w 166"/>
                  <a:gd name="T7" fmla="*/ 33 h 45"/>
                  <a:gd name="T8" fmla="*/ 13 w 166"/>
                  <a:gd name="T9" fmla="*/ 35 h 45"/>
                  <a:gd name="T10" fmla="*/ 27 w 166"/>
                  <a:gd name="T11" fmla="*/ 38 h 45"/>
                  <a:gd name="T12" fmla="*/ 44 w 166"/>
                  <a:gd name="T13" fmla="*/ 41 h 45"/>
                  <a:gd name="T14" fmla="*/ 75 w 166"/>
                  <a:gd name="T15" fmla="*/ 44 h 45"/>
                  <a:gd name="T16" fmla="*/ 92 w 166"/>
                  <a:gd name="T17" fmla="*/ 45 h 45"/>
                  <a:gd name="T18" fmla="*/ 166 w 166"/>
                  <a:gd name="T19" fmla="*/ 27 h 45"/>
                  <a:gd name="T20" fmla="*/ 157 w 166"/>
                  <a:gd name="T21" fmla="*/ 25 h 45"/>
                  <a:gd name="T22" fmla="*/ 137 w 166"/>
                  <a:gd name="T23" fmla="*/ 19 h 45"/>
                  <a:gd name="T24" fmla="*/ 110 w 166"/>
                  <a:gd name="T25" fmla="*/ 11 h 45"/>
                  <a:gd name="T26" fmla="*/ 80 w 166"/>
                  <a:gd name="T27" fmla="*/ 4 h 45"/>
                  <a:gd name="T28" fmla="*/ 65 w 166"/>
                  <a:gd name="T29" fmla="*/ 2 h 45"/>
                  <a:gd name="T30" fmla="*/ 50 w 166"/>
                  <a:gd name="T31" fmla="*/ 1 h 45"/>
                  <a:gd name="T32" fmla="*/ 36 w 166"/>
                  <a:gd name="T33" fmla="*/ 0 h 45"/>
                  <a:gd name="T34" fmla="*/ 24 w 166"/>
                  <a:gd name="T35" fmla="*/ 2 h 45"/>
                  <a:gd name="T36" fmla="*/ 19 w 166"/>
                  <a:gd name="T37" fmla="*/ 3 h 45"/>
                  <a:gd name="T38" fmla="*/ 14 w 166"/>
                  <a:gd name="T39" fmla="*/ 5 h 45"/>
                  <a:gd name="T40" fmla="*/ 10 w 166"/>
                  <a:gd name="T41" fmla="*/ 7 h 45"/>
                  <a:gd name="T42" fmla="*/ 7 w 166"/>
                  <a:gd name="T43" fmla="*/ 10 h 45"/>
                  <a:gd name="T44" fmla="*/ 3 w 166"/>
                  <a:gd name="T45" fmla="*/ 13 h 45"/>
                  <a:gd name="T46" fmla="*/ 1 w 166"/>
                  <a:gd name="T47" fmla="*/ 17 h 45"/>
                  <a:gd name="T48" fmla="*/ 0 w 166"/>
                  <a:gd name="T49" fmla="*/ 22 h 45"/>
                  <a:gd name="T50" fmla="*/ 0 w 166"/>
                  <a:gd name="T51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18" name="Freeform 412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9 h 25"/>
                  <a:gd name="T4" fmla="*/ 3 w 33"/>
                  <a:gd name="T5" fmla="*/ 15 h 25"/>
                  <a:gd name="T6" fmla="*/ 6 w 33"/>
                  <a:gd name="T7" fmla="*/ 20 h 25"/>
                  <a:gd name="T8" fmla="*/ 11 w 33"/>
                  <a:gd name="T9" fmla="*/ 22 h 25"/>
                  <a:gd name="T10" fmla="*/ 16 w 33"/>
                  <a:gd name="T11" fmla="*/ 24 h 25"/>
                  <a:gd name="T12" fmla="*/ 22 w 33"/>
                  <a:gd name="T13" fmla="*/ 25 h 25"/>
                  <a:gd name="T14" fmla="*/ 27 w 33"/>
                  <a:gd name="T15" fmla="*/ 25 h 25"/>
                  <a:gd name="T16" fmla="*/ 33 w 33"/>
                  <a:gd name="T17" fmla="*/ 25 h 25"/>
                  <a:gd name="T18" fmla="*/ 33 w 33"/>
                  <a:gd name="T19" fmla="*/ 0 h 25"/>
                  <a:gd name="T20" fmla="*/ 24 w 33"/>
                  <a:gd name="T21" fmla="*/ 0 h 25"/>
                  <a:gd name="T22" fmla="*/ 16 w 33"/>
                  <a:gd name="T23" fmla="*/ 0 h 25"/>
                  <a:gd name="T24" fmla="*/ 9 w 33"/>
                  <a:gd name="T25" fmla="*/ 0 h 25"/>
                  <a:gd name="T26" fmla="*/ 0 w 33"/>
                  <a:gd name="T2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19" name="Freeform 413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62 h 62"/>
                  <a:gd name="T2" fmla="*/ 12 w 48"/>
                  <a:gd name="T3" fmla="*/ 56 h 62"/>
                  <a:gd name="T4" fmla="*/ 22 w 48"/>
                  <a:gd name="T5" fmla="*/ 50 h 62"/>
                  <a:gd name="T6" fmla="*/ 30 w 48"/>
                  <a:gd name="T7" fmla="*/ 43 h 62"/>
                  <a:gd name="T8" fmla="*/ 37 w 48"/>
                  <a:gd name="T9" fmla="*/ 36 h 62"/>
                  <a:gd name="T10" fmla="*/ 41 w 48"/>
                  <a:gd name="T11" fmla="*/ 28 h 62"/>
                  <a:gd name="T12" fmla="*/ 44 w 48"/>
                  <a:gd name="T13" fmla="*/ 19 h 62"/>
                  <a:gd name="T14" fmla="*/ 47 w 48"/>
                  <a:gd name="T15" fmla="*/ 9 h 62"/>
                  <a:gd name="T16" fmla="*/ 48 w 48"/>
                  <a:gd name="T17" fmla="*/ 0 h 62"/>
                  <a:gd name="T18" fmla="*/ 40 w 48"/>
                  <a:gd name="T19" fmla="*/ 3 h 62"/>
                  <a:gd name="T20" fmla="*/ 32 w 48"/>
                  <a:gd name="T21" fmla="*/ 6 h 62"/>
                  <a:gd name="T22" fmla="*/ 23 w 48"/>
                  <a:gd name="T23" fmla="*/ 10 h 62"/>
                  <a:gd name="T24" fmla="*/ 17 w 48"/>
                  <a:gd name="T25" fmla="*/ 15 h 62"/>
                  <a:gd name="T26" fmla="*/ 10 w 48"/>
                  <a:gd name="T27" fmla="*/ 21 h 62"/>
                  <a:gd name="T28" fmla="*/ 6 w 48"/>
                  <a:gd name="T29" fmla="*/ 27 h 62"/>
                  <a:gd name="T30" fmla="*/ 4 w 48"/>
                  <a:gd name="T31" fmla="*/ 31 h 62"/>
                  <a:gd name="T32" fmla="*/ 3 w 48"/>
                  <a:gd name="T33" fmla="*/ 35 h 62"/>
                  <a:gd name="T34" fmla="*/ 1 w 48"/>
                  <a:gd name="T35" fmla="*/ 39 h 62"/>
                  <a:gd name="T36" fmla="*/ 0 w 48"/>
                  <a:gd name="T37" fmla="*/ 43 h 62"/>
                  <a:gd name="T38" fmla="*/ 0 w 48"/>
                  <a:gd name="T39" fmla="*/ 52 h 62"/>
                  <a:gd name="T40" fmla="*/ 0 w 48"/>
                  <a:gd name="T41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20" name="Freeform 414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47 w 113"/>
                  <a:gd name="T1" fmla="*/ 0 h 62"/>
                  <a:gd name="T2" fmla="*/ 36 w 113"/>
                  <a:gd name="T3" fmla="*/ 7 h 62"/>
                  <a:gd name="T4" fmla="*/ 23 w 113"/>
                  <a:gd name="T5" fmla="*/ 17 h 62"/>
                  <a:gd name="T6" fmla="*/ 11 w 113"/>
                  <a:gd name="T7" fmla="*/ 27 h 62"/>
                  <a:gd name="T8" fmla="*/ 0 w 113"/>
                  <a:gd name="T9" fmla="*/ 37 h 62"/>
                  <a:gd name="T10" fmla="*/ 22 w 113"/>
                  <a:gd name="T11" fmla="*/ 46 h 62"/>
                  <a:gd name="T12" fmla="*/ 41 w 113"/>
                  <a:gd name="T13" fmla="*/ 54 h 62"/>
                  <a:gd name="T14" fmla="*/ 51 w 113"/>
                  <a:gd name="T15" fmla="*/ 57 h 62"/>
                  <a:gd name="T16" fmla="*/ 62 w 113"/>
                  <a:gd name="T17" fmla="*/ 59 h 62"/>
                  <a:gd name="T18" fmla="*/ 73 w 113"/>
                  <a:gd name="T19" fmla="*/ 61 h 62"/>
                  <a:gd name="T20" fmla="*/ 87 w 113"/>
                  <a:gd name="T21" fmla="*/ 62 h 62"/>
                  <a:gd name="T22" fmla="*/ 97 w 113"/>
                  <a:gd name="T23" fmla="*/ 61 h 62"/>
                  <a:gd name="T24" fmla="*/ 106 w 113"/>
                  <a:gd name="T25" fmla="*/ 58 h 62"/>
                  <a:gd name="T26" fmla="*/ 109 w 113"/>
                  <a:gd name="T27" fmla="*/ 56 h 62"/>
                  <a:gd name="T28" fmla="*/ 111 w 113"/>
                  <a:gd name="T29" fmla="*/ 54 h 62"/>
                  <a:gd name="T30" fmla="*/ 113 w 113"/>
                  <a:gd name="T31" fmla="*/ 52 h 62"/>
                  <a:gd name="T32" fmla="*/ 113 w 113"/>
                  <a:gd name="T33" fmla="*/ 49 h 62"/>
                  <a:gd name="T34" fmla="*/ 91 w 113"/>
                  <a:gd name="T35" fmla="*/ 41 h 62"/>
                  <a:gd name="T36" fmla="*/ 70 w 113"/>
                  <a:gd name="T37" fmla="*/ 32 h 62"/>
                  <a:gd name="T38" fmla="*/ 65 w 113"/>
                  <a:gd name="T39" fmla="*/ 29 h 62"/>
                  <a:gd name="T40" fmla="*/ 61 w 113"/>
                  <a:gd name="T41" fmla="*/ 26 h 62"/>
                  <a:gd name="T42" fmla="*/ 57 w 113"/>
                  <a:gd name="T43" fmla="*/ 23 h 62"/>
                  <a:gd name="T44" fmla="*/ 54 w 113"/>
                  <a:gd name="T45" fmla="*/ 20 h 62"/>
                  <a:gd name="T46" fmla="*/ 51 w 113"/>
                  <a:gd name="T47" fmla="*/ 16 h 62"/>
                  <a:gd name="T48" fmla="*/ 48 w 113"/>
                  <a:gd name="T49" fmla="*/ 10 h 62"/>
                  <a:gd name="T50" fmla="*/ 47 w 113"/>
                  <a:gd name="T51" fmla="*/ 5 h 62"/>
                  <a:gd name="T52" fmla="*/ 47 w 113"/>
                  <a:gd name="T53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21" name="Freeform 415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15 w 93"/>
                  <a:gd name="T3" fmla="*/ 0 h 50"/>
                  <a:gd name="T4" fmla="*/ 30 w 93"/>
                  <a:gd name="T5" fmla="*/ 1 h 50"/>
                  <a:gd name="T6" fmla="*/ 45 w 93"/>
                  <a:gd name="T7" fmla="*/ 2 h 50"/>
                  <a:gd name="T8" fmla="*/ 59 w 93"/>
                  <a:gd name="T9" fmla="*/ 5 h 50"/>
                  <a:gd name="T10" fmla="*/ 64 w 93"/>
                  <a:gd name="T11" fmla="*/ 7 h 50"/>
                  <a:gd name="T12" fmla="*/ 71 w 93"/>
                  <a:gd name="T13" fmla="*/ 9 h 50"/>
                  <a:gd name="T14" fmla="*/ 75 w 93"/>
                  <a:gd name="T15" fmla="*/ 12 h 50"/>
                  <a:gd name="T16" fmla="*/ 81 w 93"/>
                  <a:gd name="T17" fmla="*/ 16 h 50"/>
                  <a:gd name="T18" fmla="*/ 85 w 93"/>
                  <a:gd name="T19" fmla="*/ 20 h 50"/>
                  <a:gd name="T20" fmla="*/ 89 w 93"/>
                  <a:gd name="T21" fmla="*/ 25 h 50"/>
                  <a:gd name="T22" fmla="*/ 91 w 93"/>
                  <a:gd name="T23" fmla="*/ 30 h 50"/>
                  <a:gd name="T24" fmla="*/ 93 w 93"/>
                  <a:gd name="T25" fmla="*/ 37 h 50"/>
                  <a:gd name="T26" fmla="*/ 79 w 93"/>
                  <a:gd name="T27" fmla="*/ 37 h 50"/>
                  <a:gd name="T28" fmla="*/ 68 w 93"/>
                  <a:gd name="T29" fmla="*/ 39 h 50"/>
                  <a:gd name="T30" fmla="*/ 60 w 93"/>
                  <a:gd name="T31" fmla="*/ 41 h 50"/>
                  <a:gd name="T32" fmla="*/ 52 w 93"/>
                  <a:gd name="T33" fmla="*/ 43 h 50"/>
                  <a:gd name="T34" fmla="*/ 42 w 93"/>
                  <a:gd name="T35" fmla="*/ 47 h 50"/>
                  <a:gd name="T36" fmla="*/ 33 w 93"/>
                  <a:gd name="T37" fmla="*/ 50 h 50"/>
                  <a:gd name="T38" fmla="*/ 30 w 93"/>
                  <a:gd name="T39" fmla="*/ 50 h 50"/>
                  <a:gd name="T40" fmla="*/ 28 w 93"/>
                  <a:gd name="T41" fmla="*/ 48 h 50"/>
                  <a:gd name="T42" fmla="*/ 26 w 93"/>
                  <a:gd name="T43" fmla="*/ 47 h 50"/>
                  <a:gd name="T44" fmla="*/ 25 w 93"/>
                  <a:gd name="T45" fmla="*/ 45 h 50"/>
                  <a:gd name="T46" fmla="*/ 23 w 93"/>
                  <a:gd name="T47" fmla="*/ 41 h 50"/>
                  <a:gd name="T48" fmla="*/ 22 w 93"/>
                  <a:gd name="T49" fmla="*/ 36 h 50"/>
                  <a:gd name="T50" fmla="*/ 22 w 93"/>
                  <a:gd name="T51" fmla="*/ 31 h 50"/>
                  <a:gd name="T52" fmla="*/ 23 w 93"/>
                  <a:gd name="T53" fmla="*/ 26 h 50"/>
                  <a:gd name="T54" fmla="*/ 24 w 93"/>
                  <a:gd name="T55" fmla="*/ 22 h 50"/>
                  <a:gd name="T56" fmla="*/ 26 w 93"/>
                  <a:gd name="T57" fmla="*/ 19 h 50"/>
                  <a:gd name="T58" fmla="*/ 0 w 93"/>
                  <a:gd name="T59" fmla="*/ 19 h 50"/>
                  <a:gd name="T60" fmla="*/ 0 w 93"/>
                  <a:gd name="T61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22" name="Freeform 416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20 w 1029"/>
                  <a:gd name="T1" fmla="*/ 112 h 604"/>
                  <a:gd name="T2" fmla="*/ 67 w 1029"/>
                  <a:gd name="T3" fmla="*/ 60 h 604"/>
                  <a:gd name="T4" fmla="*/ 266 w 1029"/>
                  <a:gd name="T5" fmla="*/ 0 h 604"/>
                  <a:gd name="T6" fmla="*/ 205 w 1029"/>
                  <a:gd name="T7" fmla="*/ 47 h 604"/>
                  <a:gd name="T8" fmla="*/ 180 w 1029"/>
                  <a:gd name="T9" fmla="*/ 105 h 604"/>
                  <a:gd name="T10" fmla="*/ 274 w 1029"/>
                  <a:gd name="T11" fmla="*/ 60 h 604"/>
                  <a:gd name="T12" fmla="*/ 397 w 1029"/>
                  <a:gd name="T13" fmla="*/ 14 h 604"/>
                  <a:gd name="T14" fmla="*/ 438 w 1029"/>
                  <a:gd name="T15" fmla="*/ 23 h 604"/>
                  <a:gd name="T16" fmla="*/ 433 w 1029"/>
                  <a:gd name="T17" fmla="*/ 71 h 604"/>
                  <a:gd name="T18" fmla="*/ 581 w 1029"/>
                  <a:gd name="T19" fmla="*/ 80 h 604"/>
                  <a:gd name="T20" fmla="*/ 675 w 1029"/>
                  <a:gd name="T21" fmla="*/ 89 h 604"/>
                  <a:gd name="T22" fmla="*/ 749 w 1029"/>
                  <a:gd name="T23" fmla="*/ 111 h 604"/>
                  <a:gd name="T24" fmla="*/ 749 w 1029"/>
                  <a:gd name="T25" fmla="*/ 134 h 604"/>
                  <a:gd name="T26" fmla="*/ 711 w 1029"/>
                  <a:gd name="T27" fmla="*/ 184 h 604"/>
                  <a:gd name="T28" fmla="*/ 799 w 1029"/>
                  <a:gd name="T29" fmla="*/ 168 h 604"/>
                  <a:gd name="T30" fmla="*/ 866 w 1029"/>
                  <a:gd name="T31" fmla="*/ 191 h 604"/>
                  <a:gd name="T32" fmla="*/ 856 w 1029"/>
                  <a:gd name="T33" fmla="*/ 239 h 604"/>
                  <a:gd name="T34" fmla="*/ 788 w 1029"/>
                  <a:gd name="T35" fmla="*/ 248 h 604"/>
                  <a:gd name="T36" fmla="*/ 859 w 1029"/>
                  <a:gd name="T37" fmla="*/ 284 h 604"/>
                  <a:gd name="T38" fmla="*/ 903 w 1029"/>
                  <a:gd name="T39" fmla="*/ 327 h 604"/>
                  <a:gd name="T40" fmla="*/ 977 w 1029"/>
                  <a:gd name="T41" fmla="*/ 329 h 604"/>
                  <a:gd name="T42" fmla="*/ 1029 w 1029"/>
                  <a:gd name="T43" fmla="*/ 351 h 604"/>
                  <a:gd name="T44" fmla="*/ 939 w 1029"/>
                  <a:gd name="T45" fmla="*/ 409 h 604"/>
                  <a:gd name="T46" fmla="*/ 899 w 1029"/>
                  <a:gd name="T47" fmla="*/ 417 h 604"/>
                  <a:gd name="T48" fmla="*/ 874 w 1029"/>
                  <a:gd name="T49" fmla="*/ 443 h 604"/>
                  <a:gd name="T50" fmla="*/ 830 w 1029"/>
                  <a:gd name="T51" fmla="*/ 414 h 604"/>
                  <a:gd name="T52" fmla="*/ 851 w 1029"/>
                  <a:gd name="T53" fmla="*/ 393 h 604"/>
                  <a:gd name="T54" fmla="*/ 792 w 1029"/>
                  <a:gd name="T55" fmla="*/ 379 h 604"/>
                  <a:gd name="T56" fmla="*/ 759 w 1029"/>
                  <a:gd name="T57" fmla="*/ 364 h 604"/>
                  <a:gd name="T58" fmla="*/ 744 w 1029"/>
                  <a:gd name="T59" fmla="*/ 394 h 604"/>
                  <a:gd name="T60" fmla="*/ 747 w 1029"/>
                  <a:gd name="T61" fmla="*/ 445 h 604"/>
                  <a:gd name="T62" fmla="*/ 795 w 1029"/>
                  <a:gd name="T63" fmla="*/ 523 h 604"/>
                  <a:gd name="T64" fmla="*/ 771 w 1029"/>
                  <a:gd name="T65" fmla="*/ 547 h 604"/>
                  <a:gd name="T66" fmla="*/ 708 w 1029"/>
                  <a:gd name="T67" fmla="*/ 556 h 604"/>
                  <a:gd name="T68" fmla="*/ 618 w 1029"/>
                  <a:gd name="T69" fmla="*/ 517 h 604"/>
                  <a:gd name="T70" fmla="*/ 668 w 1029"/>
                  <a:gd name="T71" fmla="*/ 567 h 604"/>
                  <a:gd name="T72" fmla="*/ 665 w 1029"/>
                  <a:gd name="T73" fmla="*/ 604 h 604"/>
                  <a:gd name="T74" fmla="*/ 518 w 1029"/>
                  <a:gd name="T75" fmla="*/ 570 h 604"/>
                  <a:gd name="T76" fmla="*/ 471 w 1029"/>
                  <a:gd name="T77" fmla="*/ 523 h 604"/>
                  <a:gd name="T78" fmla="*/ 410 w 1029"/>
                  <a:gd name="T79" fmla="*/ 473 h 604"/>
                  <a:gd name="T80" fmla="*/ 367 w 1029"/>
                  <a:gd name="T81" fmla="*/ 453 h 604"/>
                  <a:gd name="T82" fmla="*/ 392 w 1029"/>
                  <a:gd name="T83" fmla="*/ 433 h 604"/>
                  <a:gd name="T84" fmla="*/ 459 w 1029"/>
                  <a:gd name="T85" fmla="*/ 399 h 604"/>
                  <a:gd name="T86" fmla="*/ 500 w 1029"/>
                  <a:gd name="T87" fmla="*/ 378 h 604"/>
                  <a:gd name="T88" fmla="*/ 577 w 1029"/>
                  <a:gd name="T89" fmla="*/ 380 h 604"/>
                  <a:gd name="T90" fmla="*/ 614 w 1029"/>
                  <a:gd name="T91" fmla="*/ 395 h 604"/>
                  <a:gd name="T92" fmla="*/ 687 w 1029"/>
                  <a:gd name="T93" fmla="*/ 387 h 604"/>
                  <a:gd name="T94" fmla="*/ 581 w 1029"/>
                  <a:gd name="T95" fmla="*/ 355 h 604"/>
                  <a:gd name="T96" fmla="*/ 542 w 1029"/>
                  <a:gd name="T97" fmla="*/ 361 h 604"/>
                  <a:gd name="T98" fmla="*/ 539 w 1029"/>
                  <a:gd name="T99" fmla="*/ 350 h 604"/>
                  <a:gd name="T100" fmla="*/ 576 w 1029"/>
                  <a:gd name="T101" fmla="*/ 306 h 604"/>
                  <a:gd name="T102" fmla="*/ 576 w 1029"/>
                  <a:gd name="T103" fmla="*/ 274 h 604"/>
                  <a:gd name="T104" fmla="*/ 524 w 1029"/>
                  <a:gd name="T105" fmla="*/ 254 h 604"/>
                  <a:gd name="T106" fmla="*/ 473 w 1029"/>
                  <a:gd name="T107" fmla="*/ 198 h 604"/>
                  <a:gd name="T108" fmla="*/ 434 w 1029"/>
                  <a:gd name="T109" fmla="*/ 168 h 604"/>
                  <a:gd name="T110" fmla="*/ 408 w 1029"/>
                  <a:gd name="T111" fmla="*/ 163 h 604"/>
                  <a:gd name="T112" fmla="*/ 378 w 1029"/>
                  <a:gd name="T113" fmla="*/ 203 h 604"/>
                  <a:gd name="T114" fmla="*/ 207 w 1029"/>
                  <a:gd name="T115" fmla="*/ 174 h 604"/>
                  <a:gd name="T116" fmla="*/ 114 w 1029"/>
                  <a:gd name="T117" fmla="*/ 189 h 604"/>
                  <a:gd name="T118" fmla="*/ 79 w 1029"/>
                  <a:gd name="T119" fmla="*/ 187 h 604"/>
                  <a:gd name="T120" fmla="*/ 16 w 1029"/>
                  <a:gd name="T121" fmla="*/ 180 h 604"/>
                  <a:gd name="T122" fmla="*/ 9 w 1029"/>
                  <a:gd name="T123" fmla="*/ 158 h 604"/>
                  <a:gd name="T124" fmla="*/ 75 w 1029"/>
                  <a:gd name="T125" fmla="*/ 149 h 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23" name="Freeform 417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797 w 1268"/>
                  <a:gd name="T1" fmla="*/ 38 h 321"/>
                  <a:gd name="T2" fmla="*/ 813 w 1268"/>
                  <a:gd name="T3" fmla="*/ 16 h 321"/>
                  <a:gd name="T4" fmla="*/ 846 w 1268"/>
                  <a:gd name="T5" fmla="*/ 10 h 321"/>
                  <a:gd name="T6" fmla="*/ 865 w 1268"/>
                  <a:gd name="T7" fmla="*/ 25 h 321"/>
                  <a:gd name="T8" fmla="*/ 938 w 1268"/>
                  <a:gd name="T9" fmla="*/ 14 h 321"/>
                  <a:gd name="T10" fmla="*/ 1020 w 1268"/>
                  <a:gd name="T11" fmla="*/ 1 h 321"/>
                  <a:gd name="T12" fmla="*/ 1084 w 1268"/>
                  <a:gd name="T13" fmla="*/ 17 h 321"/>
                  <a:gd name="T14" fmla="*/ 1133 w 1268"/>
                  <a:gd name="T15" fmla="*/ 20 h 321"/>
                  <a:gd name="T16" fmla="*/ 1268 w 1268"/>
                  <a:gd name="T17" fmla="*/ 32 h 321"/>
                  <a:gd name="T18" fmla="*/ 1242 w 1268"/>
                  <a:gd name="T19" fmla="*/ 50 h 321"/>
                  <a:gd name="T20" fmla="*/ 1163 w 1268"/>
                  <a:gd name="T21" fmla="*/ 64 h 321"/>
                  <a:gd name="T22" fmla="*/ 1053 w 1268"/>
                  <a:gd name="T23" fmla="*/ 77 h 321"/>
                  <a:gd name="T24" fmla="*/ 1029 w 1268"/>
                  <a:gd name="T25" fmla="*/ 96 h 321"/>
                  <a:gd name="T26" fmla="*/ 999 w 1268"/>
                  <a:gd name="T27" fmla="*/ 104 h 321"/>
                  <a:gd name="T28" fmla="*/ 942 w 1268"/>
                  <a:gd name="T29" fmla="*/ 102 h 321"/>
                  <a:gd name="T30" fmla="*/ 930 w 1268"/>
                  <a:gd name="T31" fmla="*/ 118 h 321"/>
                  <a:gd name="T32" fmla="*/ 747 w 1268"/>
                  <a:gd name="T33" fmla="*/ 133 h 321"/>
                  <a:gd name="T34" fmla="*/ 666 w 1268"/>
                  <a:gd name="T35" fmla="*/ 156 h 321"/>
                  <a:gd name="T36" fmla="*/ 635 w 1268"/>
                  <a:gd name="T37" fmla="*/ 181 h 321"/>
                  <a:gd name="T38" fmla="*/ 591 w 1268"/>
                  <a:gd name="T39" fmla="*/ 167 h 321"/>
                  <a:gd name="T40" fmla="*/ 570 w 1268"/>
                  <a:gd name="T41" fmla="*/ 181 h 321"/>
                  <a:gd name="T42" fmla="*/ 590 w 1268"/>
                  <a:gd name="T43" fmla="*/ 207 h 321"/>
                  <a:gd name="T44" fmla="*/ 545 w 1268"/>
                  <a:gd name="T45" fmla="*/ 237 h 321"/>
                  <a:gd name="T46" fmla="*/ 483 w 1268"/>
                  <a:gd name="T47" fmla="*/ 236 h 321"/>
                  <a:gd name="T48" fmla="*/ 404 w 1268"/>
                  <a:gd name="T49" fmla="*/ 242 h 321"/>
                  <a:gd name="T50" fmla="*/ 405 w 1268"/>
                  <a:gd name="T51" fmla="*/ 257 h 321"/>
                  <a:gd name="T52" fmla="*/ 392 w 1268"/>
                  <a:gd name="T53" fmla="*/ 293 h 321"/>
                  <a:gd name="T54" fmla="*/ 333 w 1268"/>
                  <a:gd name="T55" fmla="*/ 320 h 321"/>
                  <a:gd name="T56" fmla="*/ 290 w 1268"/>
                  <a:gd name="T57" fmla="*/ 296 h 321"/>
                  <a:gd name="T58" fmla="*/ 253 w 1268"/>
                  <a:gd name="T59" fmla="*/ 285 h 321"/>
                  <a:gd name="T60" fmla="*/ 96 w 1268"/>
                  <a:gd name="T61" fmla="*/ 276 h 321"/>
                  <a:gd name="T62" fmla="*/ 0 w 1268"/>
                  <a:gd name="T63" fmla="*/ 285 h 321"/>
                  <a:gd name="T64" fmla="*/ 10 w 1268"/>
                  <a:gd name="T65" fmla="*/ 266 h 321"/>
                  <a:gd name="T66" fmla="*/ 56 w 1268"/>
                  <a:gd name="T67" fmla="*/ 246 h 321"/>
                  <a:gd name="T68" fmla="*/ 143 w 1268"/>
                  <a:gd name="T69" fmla="*/ 235 h 321"/>
                  <a:gd name="T70" fmla="*/ 170 w 1268"/>
                  <a:gd name="T71" fmla="*/ 225 h 321"/>
                  <a:gd name="T72" fmla="*/ 190 w 1268"/>
                  <a:gd name="T73" fmla="*/ 217 h 321"/>
                  <a:gd name="T74" fmla="*/ 219 w 1268"/>
                  <a:gd name="T75" fmla="*/ 232 h 321"/>
                  <a:gd name="T76" fmla="*/ 247 w 1268"/>
                  <a:gd name="T77" fmla="*/ 247 h 321"/>
                  <a:gd name="T78" fmla="*/ 208 w 1268"/>
                  <a:gd name="T79" fmla="*/ 207 h 321"/>
                  <a:gd name="T80" fmla="*/ 193 w 1268"/>
                  <a:gd name="T81" fmla="*/ 200 h 321"/>
                  <a:gd name="T82" fmla="*/ 197 w 1268"/>
                  <a:gd name="T83" fmla="*/ 181 h 321"/>
                  <a:gd name="T84" fmla="*/ 246 w 1268"/>
                  <a:gd name="T85" fmla="*/ 174 h 321"/>
                  <a:gd name="T86" fmla="*/ 365 w 1268"/>
                  <a:gd name="T87" fmla="*/ 186 h 321"/>
                  <a:gd name="T88" fmla="*/ 418 w 1268"/>
                  <a:gd name="T89" fmla="*/ 174 h 321"/>
                  <a:gd name="T90" fmla="*/ 322 w 1268"/>
                  <a:gd name="T91" fmla="*/ 169 h 321"/>
                  <a:gd name="T92" fmla="*/ 299 w 1268"/>
                  <a:gd name="T93" fmla="*/ 149 h 321"/>
                  <a:gd name="T94" fmla="*/ 378 w 1268"/>
                  <a:gd name="T95" fmla="*/ 137 h 321"/>
                  <a:gd name="T96" fmla="*/ 438 w 1268"/>
                  <a:gd name="T97" fmla="*/ 155 h 321"/>
                  <a:gd name="T98" fmla="*/ 478 w 1268"/>
                  <a:gd name="T99" fmla="*/ 124 h 321"/>
                  <a:gd name="T100" fmla="*/ 664 w 1268"/>
                  <a:gd name="T101" fmla="*/ 87 h 321"/>
                  <a:gd name="T102" fmla="*/ 589 w 1268"/>
                  <a:gd name="T103" fmla="*/ 110 h 321"/>
                  <a:gd name="T104" fmla="*/ 449 w 1268"/>
                  <a:gd name="T105" fmla="*/ 111 h 321"/>
                  <a:gd name="T106" fmla="*/ 312 w 1268"/>
                  <a:gd name="T107" fmla="*/ 116 h 321"/>
                  <a:gd name="T108" fmla="*/ 253 w 1268"/>
                  <a:gd name="T109" fmla="*/ 101 h 321"/>
                  <a:gd name="T110" fmla="*/ 219 w 1268"/>
                  <a:gd name="T111" fmla="*/ 80 h 321"/>
                  <a:gd name="T112" fmla="*/ 253 w 1268"/>
                  <a:gd name="T113" fmla="*/ 71 h 321"/>
                  <a:gd name="T114" fmla="*/ 446 w 1268"/>
                  <a:gd name="T115" fmla="*/ 47 h 321"/>
                  <a:gd name="T116" fmla="*/ 618 w 1268"/>
                  <a:gd name="T117" fmla="*/ 32 h 321"/>
                  <a:gd name="T118" fmla="*/ 674 w 1268"/>
                  <a:gd name="T119" fmla="*/ 20 h 321"/>
                  <a:gd name="T120" fmla="*/ 757 w 1268"/>
                  <a:gd name="T121" fmla="*/ 26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24" name="Freeform 418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1 w 160"/>
                  <a:gd name="T3" fmla="*/ 10 h 117"/>
                  <a:gd name="T4" fmla="*/ 4 w 160"/>
                  <a:gd name="T5" fmla="*/ 19 h 117"/>
                  <a:gd name="T6" fmla="*/ 9 w 160"/>
                  <a:gd name="T7" fmla="*/ 29 h 117"/>
                  <a:gd name="T8" fmla="*/ 15 w 160"/>
                  <a:gd name="T9" fmla="*/ 39 h 117"/>
                  <a:gd name="T10" fmla="*/ 22 w 160"/>
                  <a:gd name="T11" fmla="*/ 48 h 117"/>
                  <a:gd name="T12" fmla="*/ 31 w 160"/>
                  <a:gd name="T13" fmla="*/ 59 h 117"/>
                  <a:gd name="T14" fmla="*/ 41 w 160"/>
                  <a:gd name="T15" fmla="*/ 68 h 117"/>
                  <a:gd name="T16" fmla="*/ 51 w 160"/>
                  <a:gd name="T17" fmla="*/ 77 h 117"/>
                  <a:gd name="T18" fmla="*/ 62 w 160"/>
                  <a:gd name="T19" fmla="*/ 85 h 117"/>
                  <a:gd name="T20" fmla="*/ 73 w 160"/>
                  <a:gd name="T21" fmla="*/ 93 h 117"/>
                  <a:gd name="T22" fmla="*/ 84 w 160"/>
                  <a:gd name="T23" fmla="*/ 99 h 117"/>
                  <a:gd name="T24" fmla="*/ 95 w 160"/>
                  <a:gd name="T25" fmla="*/ 105 h 117"/>
                  <a:gd name="T26" fmla="*/ 106 w 160"/>
                  <a:gd name="T27" fmla="*/ 111 h 117"/>
                  <a:gd name="T28" fmla="*/ 116 w 160"/>
                  <a:gd name="T29" fmla="*/ 114 h 117"/>
                  <a:gd name="T30" fmla="*/ 124 w 160"/>
                  <a:gd name="T31" fmla="*/ 117 h 117"/>
                  <a:gd name="T32" fmla="*/ 133 w 160"/>
                  <a:gd name="T33" fmla="*/ 117 h 117"/>
                  <a:gd name="T34" fmla="*/ 139 w 160"/>
                  <a:gd name="T35" fmla="*/ 116 h 117"/>
                  <a:gd name="T36" fmla="*/ 146 w 160"/>
                  <a:gd name="T37" fmla="*/ 113 h 117"/>
                  <a:gd name="T38" fmla="*/ 153 w 160"/>
                  <a:gd name="T39" fmla="*/ 110 h 117"/>
                  <a:gd name="T40" fmla="*/ 160 w 160"/>
                  <a:gd name="T41" fmla="*/ 104 h 117"/>
                  <a:gd name="T42" fmla="*/ 150 w 160"/>
                  <a:gd name="T43" fmla="*/ 91 h 117"/>
                  <a:gd name="T44" fmla="*/ 141 w 160"/>
                  <a:gd name="T45" fmla="*/ 79 h 117"/>
                  <a:gd name="T46" fmla="*/ 138 w 160"/>
                  <a:gd name="T47" fmla="*/ 73 h 117"/>
                  <a:gd name="T48" fmla="*/ 135 w 160"/>
                  <a:gd name="T49" fmla="*/ 66 h 117"/>
                  <a:gd name="T50" fmla="*/ 133 w 160"/>
                  <a:gd name="T51" fmla="*/ 58 h 117"/>
                  <a:gd name="T52" fmla="*/ 133 w 160"/>
                  <a:gd name="T53" fmla="*/ 49 h 117"/>
                  <a:gd name="T54" fmla="*/ 127 w 160"/>
                  <a:gd name="T55" fmla="*/ 48 h 117"/>
                  <a:gd name="T56" fmla="*/ 118 w 160"/>
                  <a:gd name="T57" fmla="*/ 45 h 117"/>
                  <a:gd name="T58" fmla="*/ 108 w 160"/>
                  <a:gd name="T59" fmla="*/ 40 h 117"/>
                  <a:gd name="T60" fmla="*/ 97 w 160"/>
                  <a:gd name="T61" fmla="*/ 34 h 117"/>
                  <a:gd name="T62" fmla="*/ 87 w 160"/>
                  <a:gd name="T63" fmla="*/ 28 h 117"/>
                  <a:gd name="T64" fmla="*/ 77 w 160"/>
                  <a:gd name="T65" fmla="*/ 21 h 117"/>
                  <a:gd name="T66" fmla="*/ 74 w 160"/>
                  <a:gd name="T67" fmla="*/ 17 h 117"/>
                  <a:gd name="T68" fmla="*/ 71 w 160"/>
                  <a:gd name="T69" fmla="*/ 13 h 117"/>
                  <a:gd name="T70" fmla="*/ 68 w 160"/>
                  <a:gd name="T71" fmla="*/ 10 h 117"/>
                  <a:gd name="T72" fmla="*/ 66 w 160"/>
                  <a:gd name="T73" fmla="*/ 6 h 117"/>
                  <a:gd name="T74" fmla="*/ 60 w 160"/>
                  <a:gd name="T75" fmla="*/ 6 h 117"/>
                  <a:gd name="T76" fmla="*/ 52 w 160"/>
                  <a:gd name="T77" fmla="*/ 6 h 117"/>
                  <a:gd name="T78" fmla="*/ 43 w 160"/>
                  <a:gd name="T79" fmla="*/ 4 h 117"/>
                  <a:gd name="T80" fmla="*/ 33 w 160"/>
                  <a:gd name="T81" fmla="*/ 0 h 117"/>
                  <a:gd name="T82" fmla="*/ 0 w 160"/>
                  <a:gd name="T83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25" name="Freeform 419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40 w 80"/>
                  <a:gd name="T1" fmla="*/ 123 h 141"/>
                  <a:gd name="T2" fmla="*/ 80 w 80"/>
                  <a:gd name="T3" fmla="*/ 36 h 141"/>
                  <a:gd name="T4" fmla="*/ 80 w 80"/>
                  <a:gd name="T5" fmla="*/ 18 h 141"/>
                  <a:gd name="T6" fmla="*/ 68 w 80"/>
                  <a:gd name="T7" fmla="*/ 17 h 141"/>
                  <a:gd name="T8" fmla="*/ 59 w 80"/>
                  <a:gd name="T9" fmla="*/ 16 h 141"/>
                  <a:gd name="T10" fmla="*/ 53 w 80"/>
                  <a:gd name="T11" fmla="*/ 14 h 141"/>
                  <a:gd name="T12" fmla="*/ 47 w 80"/>
                  <a:gd name="T13" fmla="*/ 11 h 141"/>
                  <a:gd name="T14" fmla="*/ 44 w 80"/>
                  <a:gd name="T15" fmla="*/ 8 h 141"/>
                  <a:gd name="T16" fmla="*/ 42 w 80"/>
                  <a:gd name="T17" fmla="*/ 5 h 141"/>
                  <a:gd name="T18" fmla="*/ 41 w 80"/>
                  <a:gd name="T19" fmla="*/ 2 h 141"/>
                  <a:gd name="T20" fmla="*/ 40 w 80"/>
                  <a:gd name="T21" fmla="*/ 0 h 141"/>
                  <a:gd name="T22" fmla="*/ 0 w 80"/>
                  <a:gd name="T23" fmla="*/ 0 h 141"/>
                  <a:gd name="T24" fmla="*/ 0 w 80"/>
                  <a:gd name="T25" fmla="*/ 23 h 141"/>
                  <a:gd name="T26" fmla="*/ 0 w 80"/>
                  <a:gd name="T27" fmla="*/ 40 h 141"/>
                  <a:gd name="T28" fmla="*/ 0 w 80"/>
                  <a:gd name="T29" fmla="*/ 52 h 141"/>
                  <a:gd name="T30" fmla="*/ 0 w 80"/>
                  <a:gd name="T31" fmla="*/ 61 h 141"/>
                  <a:gd name="T32" fmla="*/ 1 w 80"/>
                  <a:gd name="T33" fmla="*/ 69 h 141"/>
                  <a:gd name="T34" fmla="*/ 3 w 80"/>
                  <a:gd name="T35" fmla="*/ 78 h 141"/>
                  <a:gd name="T36" fmla="*/ 7 w 80"/>
                  <a:gd name="T37" fmla="*/ 88 h 141"/>
                  <a:gd name="T38" fmla="*/ 11 w 80"/>
                  <a:gd name="T39" fmla="*/ 99 h 141"/>
                  <a:gd name="T40" fmla="*/ 20 w 80"/>
                  <a:gd name="T41" fmla="*/ 121 h 141"/>
                  <a:gd name="T42" fmla="*/ 27 w 80"/>
                  <a:gd name="T43" fmla="*/ 141 h 141"/>
                  <a:gd name="T44" fmla="*/ 31 w 80"/>
                  <a:gd name="T45" fmla="*/ 135 h 141"/>
                  <a:gd name="T46" fmla="*/ 33 w 80"/>
                  <a:gd name="T47" fmla="*/ 129 h 141"/>
                  <a:gd name="T48" fmla="*/ 34 w 80"/>
                  <a:gd name="T49" fmla="*/ 127 h 141"/>
                  <a:gd name="T50" fmla="*/ 36 w 80"/>
                  <a:gd name="T51" fmla="*/ 125 h 141"/>
                  <a:gd name="T52" fmla="*/ 38 w 80"/>
                  <a:gd name="T53" fmla="*/ 123 h 141"/>
                  <a:gd name="T54" fmla="*/ 40 w 80"/>
                  <a:gd name="T55" fmla="*/ 123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26" name="Freeform 420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93 h 124"/>
                  <a:gd name="T2" fmla="*/ 0 w 259"/>
                  <a:gd name="T3" fmla="*/ 96 h 124"/>
                  <a:gd name="T4" fmla="*/ 2 w 259"/>
                  <a:gd name="T5" fmla="*/ 100 h 124"/>
                  <a:gd name="T6" fmla="*/ 4 w 259"/>
                  <a:gd name="T7" fmla="*/ 103 h 124"/>
                  <a:gd name="T8" fmla="*/ 6 w 259"/>
                  <a:gd name="T9" fmla="*/ 106 h 124"/>
                  <a:gd name="T10" fmla="*/ 14 w 259"/>
                  <a:gd name="T11" fmla="*/ 111 h 124"/>
                  <a:gd name="T12" fmla="*/ 23 w 259"/>
                  <a:gd name="T13" fmla="*/ 115 h 124"/>
                  <a:gd name="T14" fmla="*/ 31 w 259"/>
                  <a:gd name="T15" fmla="*/ 120 h 124"/>
                  <a:gd name="T16" fmla="*/ 41 w 259"/>
                  <a:gd name="T17" fmla="*/ 122 h 124"/>
                  <a:gd name="T18" fmla="*/ 51 w 259"/>
                  <a:gd name="T19" fmla="*/ 124 h 124"/>
                  <a:gd name="T20" fmla="*/ 60 w 259"/>
                  <a:gd name="T21" fmla="*/ 124 h 124"/>
                  <a:gd name="T22" fmla="*/ 68 w 259"/>
                  <a:gd name="T23" fmla="*/ 124 h 124"/>
                  <a:gd name="T24" fmla="*/ 75 w 259"/>
                  <a:gd name="T25" fmla="*/ 123 h 124"/>
                  <a:gd name="T26" fmla="*/ 81 w 259"/>
                  <a:gd name="T27" fmla="*/ 122 h 124"/>
                  <a:gd name="T28" fmla="*/ 87 w 259"/>
                  <a:gd name="T29" fmla="*/ 120 h 124"/>
                  <a:gd name="T30" fmla="*/ 97 w 259"/>
                  <a:gd name="T31" fmla="*/ 114 h 124"/>
                  <a:gd name="T32" fmla="*/ 106 w 259"/>
                  <a:gd name="T33" fmla="*/ 108 h 124"/>
                  <a:gd name="T34" fmla="*/ 115 w 259"/>
                  <a:gd name="T35" fmla="*/ 103 h 124"/>
                  <a:gd name="T36" fmla="*/ 125 w 259"/>
                  <a:gd name="T37" fmla="*/ 98 h 124"/>
                  <a:gd name="T38" fmla="*/ 130 w 259"/>
                  <a:gd name="T39" fmla="*/ 96 h 124"/>
                  <a:gd name="T40" fmla="*/ 137 w 259"/>
                  <a:gd name="T41" fmla="*/ 94 h 124"/>
                  <a:gd name="T42" fmla="*/ 145 w 259"/>
                  <a:gd name="T43" fmla="*/ 93 h 124"/>
                  <a:gd name="T44" fmla="*/ 152 w 259"/>
                  <a:gd name="T45" fmla="*/ 93 h 124"/>
                  <a:gd name="T46" fmla="*/ 162 w 259"/>
                  <a:gd name="T47" fmla="*/ 94 h 124"/>
                  <a:gd name="T48" fmla="*/ 171 w 259"/>
                  <a:gd name="T49" fmla="*/ 96 h 124"/>
                  <a:gd name="T50" fmla="*/ 180 w 259"/>
                  <a:gd name="T51" fmla="*/ 99 h 124"/>
                  <a:gd name="T52" fmla="*/ 188 w 259"/>
                  <a:gd name="T53" fmla="*/ 103 h 124"/>
                  <a:gd name="T54" fmla="*/ 204 w 259"/>
                  <a:gd name="T55" fmla="*/ 111 h 124"/>
                  <a:gd name="T56" fmla="*/ 219 w 259"/>
                  <a:gd name="T57" fmla="*/ 117 h 124"/>
                  <a:gd name="T58" fmla="*/ 259 w 259"/>
                  <a:gd name="T59" fmla="*/ 117 h 124"/>
                  <a:gd name="T60" fmla="*/ 259 w 259"/>
                  <a:gd name="T61" fmla="*/ 99 h 124"/>
                  <a:gd name="T62" fmla="*/ 252 w 259"/>
                  <a:gd name="T63" fmla="*/ 98 h 124"/>
                  <a:gd name="T64" fmla="*/ 244 w 259"/>
                  <a:gd name="T65" fmla="*/ 96 h 124"/>
                  <a:gd name="T66" fmla="*/ 236 w 259"/>
                  <a:gd name="T67" fmla="*/ 94 h 124"/>
                  <a:gd name="T68" fmla="*/ 226 w 259"/>
                  <a:gd name="T69" fmla="*/ 93 h 124"/>
                  <a:gd name="T70" fmla="*/ 230 w 259"/>
                  <a:gd name="T71" fmla="*/ 85 h 124"/>
                  <a:gd name="T72" fmla="*/ 236 w 259"/>
                  <a:gd name="T73" fmla="*/ 79 h 124"/>
                  <a:gd name="T74" fmla="*/ 240 w 259"/>
                  <a:gd name="T75" fmla="*/ 74 h 124"/>
                  <a:gd name="T76" fmla="*/ 246 w 259"/>
                  <a:gd name="T77" fmla="*/ 69 h 124"/>
                  <a:gd name="T78" fmla="*/ 238 w 259"/>
                  <a:gd name="T79" fmla="*/ 61 h 124"/>
                  <a:gd name="T80" fmla="*/ 230 w 259"/>
                  <a:gd name="T81" fmla="*/ 56 h 124"/>
                  <a:gd name="T82" fmla="*/ 222 w 259"/>
                  <a:gd name="T83" fmla="*/ 50 h 124"/>
                  <a:gd name="T84" fmla="*/ 214 w 259"/>
                  <a:gd name="T85" fmla="*/ 46 h 124"/>
                  <a:gd name="T86" fmla="*/ 197 w 259"/>
                  <a:gd name="T87" fmla="*/ 37 h 124"/>
                  <a:gd name="T88" fmla="*/ 182 w 259"/>
                  <a:gd name="T89" fmla="*/ 30 h 124"/>
                  <a:gd name="T90" fmla="*/ 166 w 259"/>
                  <a:gd name="T91" fmla="*/ 23 h 124"/>
                  <a:gd name="T92" fmla="*/ 153 w 259"/>
                  <a:gd name="T93" fmla="*/ 17 h 124"/>
                  <a:gd name="T94" fmla="*/ 147 w 259"/>
                  <a:gd name="T95" fmla="*/ 13 h 124"/>
                  <a:gd name="T96" fmla="*/ 141 w 259"/>
                  <a:gd name="T97" fmla="*/ 10 h 124"/>
                  <a:gd name="T98" fmla="*/ 137 w 259"/>
                  <a:gd name="T99" fmla="*/ 5 h 124"/>
                  <a:gd name="T100" fmla="*/ 132 w 259"/>
                  <a:gd name="T101" fmla="*/ 0 h 124"/>
                  <a:gd name="T102" fmla="*/ 124 w 259"/>
                  <a:gd name="T103" fmla="*/ 3 h 124"/>
                  <a:gd name="T104" fmla="*/ 114 w 259"/>
                  <a:gd name="T105" fmla="*/ 7 h 124"/>
                  <a:gd name="T106" fmla="*/ 105 w 259"/>
                  <a:gd name="T107" fmla="*/ 12 h 124"/>
                  <a:gd name="T108" fmla="*/ 95 w 259"/>
                  <a:gd name="T109" fmla="*/ 17 h 124"/>
                  <a:gd name="T110" fmla="*/ 75 w 259"/>
                  <a:gd name="T111" fmla="*/ 29 h 124"/>
                  <a:gd name="T112" fmla="*/ 57 w 259"/>
                  <a:gd name="T113" fmla="*/ 42 h 124"/>
                  <a:gd name="T114" fmla="*/ 38 w 259"/>
                  <a:gd name="T115" fmla="*/ 56 h 124"/>
                  <a:gd name="T116" fmla="*/ 23 w 259"/>
                  <a:gd name="T117" fmla="*/ 70 h 124"/>
                  <a:gd name="T118" fmla="*/ 9 w 259"/>
                  <a:gd name="T119" fmla="*/ 83 h 124"/>
                  <a:gd name="T120" fmla="*/ 0 w 259"/>
                  <a:gd name="T121" fmla="*/ 93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27" name="Freeform 421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32 h 57"/>
                  <a:gd name="T2" fmla="*/ 7 w 119"/>
                  <a:gd name="T3" fmla="*/ 35 h 57"/>
                  <a:gd name="T4" fmla="*/ 14 w 119"/>
                  <a:gd name="T5" fmla="*/ 38 h 57"/>
                  <a:gd name="T6" fmla="*/ 20 w 119"/>
                  <a:gd name="T7" fmla="*/ 42 h 57"/>
                  <a:gd name="T8" fmla="*/ 26 w 119"/>
                  <a:gd name="T9" fmla="*/ 47 h 57"/>
                  <a:gd name="T10" fmla="*/ 32 w 119"/>
                  <a:gd name="T11" fmla="*/ 51 h 57"/>
                  <a:gd name="T12" fmla="*/ 36 w 119"/>
                  <a:gd name="T13" fmla="*/ 54 h 57"/>
                  <a:gd name="T14" fmla="*/ 41 w 119"/>
                  <a:gd name="T15" fmla="*/ 56 h 57"/>
                  <a:gd name="T16" fmla="*/ 47 w 119"/>
                  <a:gd name="T17" fmla="*/ 57 h 57"/>
                  <a:gd name="T18" fmla="*/ 55 w 119"/>
                  <a:gd name="T19" fmla="*/ 57 h 57"/>
                  <a:gd name="T20" fmla="*/ 62 w 119"/>
                  <a:gd name="T21" fmla="*/ 56 h 57"/>
                  <a:gd name="T22" fmla="*/ 70 w 119"/>
                  <a:gd name="T23" fmla="*/ 55 h 57"/>
                  <a:gd name="T24" fmla="*/ 77 w 119"/>
                  <a:gd name="T25" fmla="*/ 53 h 57"/>
                  <a:gd name="T26" fmla="*/ 83 w 119"/>
                  <a:gd name="T27" fmla="*/ 50 h 57"/>
                  <a:gd name="T28" fmla="*/ 89 w 119"/>
                  <a:gd name="T29" fmla="*/ 48 h 57"/>
                  <a:gd name="T30" fmla="*/ 93 w 119"/>
                  <a:gd name="T31" fmla="*/ 44 h 57"/>
                  <a:gd name="T32" fmla="*/ 97 w 119"/>
                  <a:gd name="T33" fmla="*/ 40 h 57"/>
                  <a:gd name="T34" fmla="*/ 106 w 119"/>
                  <a:gd name="T35" fmla="*/ 32 h 57"/>
                  <a:gd name="T36" fmla="*/ 112 w 119"/>
                  <a:gd name="T37" fmla="*/ 23 h 57"/>
                  <a:gd name="T38" fmla="*/ 116 w 119"/>
                  <a:gd name="T39" fmla="*/ 13 h 57"/>
                  <a:gd name="T40" fmla="*/ 119 w 119"/>
                  <a:gd name="T41" fmla="*/ 1 h 57"/>
                  <a:gd name="T42" fmla="*/ 101 w 119"/>
                  <a:gd name="T43" fmla="*/ 0 h 57"/>
                  <a:gd name="T44" fmla="*/ 82 w 119"/>
                  <a:gd name="T45" fmla="*/ 0 h 57"/>
                  <a:gd name="T46" fmla="*/ 63 w 119"/>
                  <a:gd name="T47" fmla="*/ 2 h 57"/>
                  <a:gd name="T48" fmla="*/ 45 w 119"/>
                  <a:gd name="T49" fmla="*/ 5 h 57"/>
                  <a:gd name="T50" fmla="*/ 36 w 119"/>
                  <a:gd name="T51" fmla="*/ 7 h 57"/>
                  <a:gd name="T52" fmla="*/ 28 w 119"/>
                  <a:gd name="T53" fmla="*/ 10 h 57"/>
                  <a:gd name="T54" fmla="*/ 22 w 119"/>
                  <a:gd name="T55" fmla="*/ 13 h 57"/>
                  <a:gd name="T56" fmla="*/ 15 w 119"/>
                  <a:gd name="T57" fmla="*/ 16 h 57"/>
                  <a:gd name="T58" fmla="*/ 10 w 119"/>
                  <a:gd name="T59" fmla="*/ 19 h 57"/>
                  <a:gd name="T60" fmla="*/ 5 w 119"/>
                  <a:gd name="T61" fmla="*/ 23 h 57"/>
                  <a:gd name="T62" fmla="*/ 2 w 119"/>
                  <a:gd name="T63" fmla="*/ 27 h 57"/>
                  <a:gd name="T64" fmla="*/ 0 w 119"/>
                  <a:gd name="T65" fmla="*/ 3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28" name="Freeform 422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50 h 52"/>
                  <a:gd name="T2" fmla="*/ 6 w 107"/>
                  <a:gd name="T3" fmla="*/ 51 h 52"/>
                  <a:gd name="T4" fmla="*/ 9 w 107"/>
                  <a:gd name="T5" fmla="*/ 52 h 52"/>
                  <a:gd name="T6" fmla="*/ 13 w 107"/>
                  <a:gd name="T7" fmla="*/ 52 h 52"/>
                  <a:gd name="T8" fmla="*/ 17 w 107"/>
                  <a:gd name="T9" fmla="*/ 52 h 52"/>
                  <a:gd name="T10" fmla="*/ 24 w 107"/>
                  <a:gd name="T11" fmla="*/ 50 h 52"/>
                  <a:gd name="T12" fmla="*/ 34 w 107"/>
                  <a:gd name="T13" fmla="*/ 50 h 52"/>
                  <a:gd name="T14" fmla="*/ 43 w 107"/>
                  <a:gd name="T15" fmla="*/ 49 h 52"/>
                  <a:gd name="T16" fmla="*/ 53 w 107"/>
                  <a:gd name="T17" fmla="*/ 48 h 52"/>
                  <a:gd name="T18" fmla="*/ 62 w 107"/>
                  <a:gd name="T19" fmla="*/ 47 h 52"/>
                  <a:gd name="T20" fmla="*/ 70 w 107"/>
                  <a:gd name="T21" fmla="*/ 43 h 52"/>
                  <a:gd name="T22" fmla="*/ 79 w 107"/>
                  <a:gd name="T23" fmla="*/ 40 h 52"/>
                  <a:gd name="T24" fmla="*/ 88 w 107"/>
                  <a:gd name="T25" fmla="*/ 36 h 52"/>
                  <a:gd name="T26" fmla="*/ 97 w 107"/>
                  <a:gd name="T27" fmla="*/ 31 h 52"/>
                  <a:gd name="T28" fmla="*/ 107 w 107"/>
                  <a:gd name="T29" fmla="*/ 24 h 52"/>
                  <a:gd name="T30" fmla="*/ 107 w 107"/>
                  <a:gd name="T31" fmla="*/ 0 h 52"/>
                  <a:gd name="T32" fmla="*/ 98 w 107"/>
                  <a:gd name="T33" fmla="*/ 1 h 52"/>
                  <a:gd name="T34" fmla="*/ 86 w 107"/>
                  <a:gd name="T35" fmla="*/ 3 h 52"/>
                  <a:gd name="T36" fmla="*/ 72 w 107"/>
                  <a:gd name="T37" fmla="*/ 7 h 52"/>
                  <a:gd name="T38" fmla="*/ 56 w 107"/>
                  <a:gd name="T39" fmla="*/ 13 h 52"/>
                  <a:gd name="T40" fmla="*/ 41 w 107"/>
                  <a:gd name="T41" fmla="*/ 20 h 52"/>
                  <a:gd name="T42" fmla="*/ 25 w 107"/>
                  <a:gd name="T43" fmla="*/ 28 h 52"/>
                  <a:gd name="T44" fmla="*/ 19 w 107"/>
                  <a:gd name="T45" fmla="*/ 33 h 52"/>
                  <a:gd name="T46" fmla="*/ 12 w 107"/>
                  <a:gd name="T47" fmla="*/ 38 h 52"/>
                  <a:gd name="T48" fmla="*/ 6 w 107"/>
                  <a:gd name="T49" fmla="*/ 43 h 52"/>
                  <a:gd name="T50" fmla="*/ 0 w 107"/>
                  <a:gd name="T51" fmla="*/ 5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29" name="Freeform 423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27 w 246"/>
                  <a:gd name="T1" fmla="*/ 99 h 99"/>
                  <a:gd name="T2" fmla="*/ 22 w 246"/>
                  <a:gd name="T3" fmla="*/ 97 h 99"/>
                  <a:gd name="T4" fmla="*/ 17 w 246"/>
                  <a:gd name="T5" fmla="*/ 96 h 99"/>
                  <a:gd name="T6" fmla="*/ 12 w 246"/>
                  <a:gd name="T7" fmla="*/ 93 h 99"/>
                  <a:gd name="T8" fmla="*/ 9 w 246"/>
                  <a:gd name="T9" fmla="*/ 90 h 99"/>
                  <a:gd name="T10" fmla="*/ 6 w 246"/>
                  <a:gd name="T11" fmla="*/ 86 h 99"/>
                  <a:gd name="T12" fmla="*/ 2 w 246"/>
                  <a:gd name="T13" fmla="*/ 82 h 99"/>
                  <a:gd name="T14" fmla="*/ 1 w 246"/>
                  <a:gd name="T15" fmla="*/ 78 h 99"/>
                  <a:gd name="T16" fmla="*/ 0 w 246"/>
                  <a:gd name="T17" fmla="*/ 73 h 99"/>
                  <a:gd name="T18" fmla="*/ 0 w 246"/>
                  <a:gd name="T19" fmla="*/ 69 h 99"/>
                  <a:gd name="T20" fmla="*/ 1 w 246"/>
                  <a:gd name="T21" fmla="*/ 65 h 99"/>
                  <a:gd name="T22" fmla="*/ 3 w 246"/>
                  <a:gd name="T23" fmla="*/ 60 h 99"/>
                  <a:gd name="T24" fmla="*/ 5 w 246"/>
                  <a:gd name="T25" fmla="*/ 56 h 99"/>
                  <a:gd name="T26" fmla="*/ 10 w 246"/>
                  <a:gd name="T27" fmla="*/ 49 h 99"/>
                  <a:gd name="T28" fmla="*/ 18 w 246"/>
                  <a:gd name="T29" fmla="*/ 41 h 99"/>
                  <a:gd name="T30" fmla="*/ 25 w 246"/>
                  <a:gd name="T31" fmla="*/ 34 h 99"/>
                  <a:gd name="T32" fmla="*/ 35 w 246"/>
                  <a:gd name="T33" fmla="*/ 28 h 99"/>
                  <a:gd name="T34" fmla="*/ 46 w 246"/>
                  <a:gd name="T35" fmla="*/ 23 h 99"/>
                  <a:gd name="T36" fmla="*/ 57 w 246"/>
                  <a:gd name="T37" fmla="*/ 18 h 99"/>
                  <a:gd name="T38" fmla="*/ 69 w 246"/>
                  <a:gd name="T39" fmla="*/ 14 h 99"/>
                  <a:gd name="T40" fmla="*/ 81 w 246"/>
                  <a:gd name="T41" fmla="*/ 10 h 99"/>
                  <a:gd name="T42" fmla="*/ 92 w 246"/>
                  <a:gd name="T43" fmla="*/ 7 h 99"/>
                  <a:gd name="T44" fmla="*/ 104 w 246"/>
                  <a:gd name="T45" fmla="*/ 4 h 99"/>
                  <a:gd name="T46" fmla="*/ 124 w 246"/>
                  <a:gd name="T47" fmla="*/ 1 h 99"/>
                  <a:gd name="T48" fmla="*/ 140 w 246"/>
                  <a:gd name="T49" fmla="*/ 0 h 99"/>
                  <a:gd name="T50" fmla="*/ 168 w 246"/>
                  <a:gd name="T51" fmla="*/ 0 h 99"/>
                  <a:gd name="T52" fmla="*/ 193 w 246"/>
                  <a:gd name="T53" fmla="*/ 1 h 99"/>
                  <a:gd name="T54" fmla="*/ 219 w 246"/>
                  <a:gd name="T55" fmla="*/ 2 h 99"/>
                  <a:gd name="T56" fmla="*/ 246 w 246"/>
                  <a:gd name="T57" fmla="*/ 6 h 99"/>
                  <a:gd name="T58" fmla="*/ 244 w 246"/>
                  <a:gd name="T59" fmla="*/ 11 h 99"/>
                  <a:gd name="T60" fmla="*/ 241 w 246"/>
                  <a:gd name="T61" fmla="*/ 15 h 99"/>
                  <a:gd name="T62" fmla="*/ 236 w 246"/>
                  <a:gd name="T63" fmla="*/ 20 h 99"/>
                  <a:gd name="T64" fmla="*/ 231 w 246"/>
                  <a:gd name="T65" fmla="*/ 26 h 99"/>
                  <a:gd name="T66" fmla="*/ 215 w 246"/>
                  <a:gd name="T67" fmla="*/ 36 h 99"/>
                  <a:gd name="T68" fmla="*/ 199 w 246"/>
                  <a:gd name="T69" fmla="*/ 46 h 99"/>
                  <a:gd name="T70" fmla="*/ 180 w 246"/>
                  <a:gd name="T71" fmla="*/ 55 h 99"/>
                  <a:gd name="T72" fmla="*/ 162 w 246"/>
                  <a:gd name="T73" fmla="*/ 61 h 99"/>
                  <a:gd name="T74" fmla="*/ 152 w 246"/>
                  <a:gd name="T75" fmla="*/ 64 h 99"/>
                  <a:gd name="T76" fmla="*/ 143 w 246"/>
                  <a:gd name="T77" fmla="*/ 66 h 99"/>
                  <a:gd name="T78" fmla="*/ 134 w 246"/>
                  <a:gd name="T79" fmla="*/ 67 h 99"/>
                  <a:gd name="T80" fmla="*/ 126 w 246"/>
                  <a:gd name="T81" fmla="*/ 67 h 99"/>
                  <a:gd name="T82" fmla="*/ 120 w 246"/>
                  <a:gd name="T83" fmla="*/ 67 h 99"/>
                  <a:gd name="T84" fmla="*/ 110 w 246"/>
                  <a:gd name="T85" fmla="*/ 67 h 99"/>
                  <a:gd name="T86" fmla="*/ 100 w 246"/>
                  <a:gd name="T87" fmla="*/ 67 h 99"/>
                  <a:gd name="T88" fmla="*/ 93 w 246"/>
                  <a:gd name="T89" fmla="*/ 67 h 99"/>
                  <a:gd name="T90" fmla="*/ 88 w 246"/>
                  <a:gd name="T91" fmla="*/ 69 h 99"/>
                  <a:gd name="T92" fmla="*/ 80 w 246"/>
                  <a:gd name="T93" fmla="*/ 72 h 99"/>
                  <a:gd name="T94" fmla="*/ 72 w 246"/>
                  <a:gd name="T95" fmla="*/ 77 h 99"/>
                  <a:gd name="T96" fmla="*/ 63 w 246"/>
                  <a:gd name="T97" fmla="*/ 83 h 99"/>
                  <a:gd name="T98" fmla="*/ 53 w 246"/>
                  <a:gd name="T99" fmla="*/ 88 h 99"/>
                  <a:gd name="T100" fmla="*/ 44 w 246"/>
                  <a:gd name="T101" fmla="*/ 93 h 99"/>
                  <a:gd name="T102" fmla="*/ 35 w 246"/>
                  <a:gd name="T103" fmla="*/ 96 h 99"/>
                  <a:gd name="T104" fmla="*/ 27 w 246"/>
                  <a:gd name="T105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30" name="Freeform 424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33 w 233"/>
                  <a:gd name="T1" fmla="*/ 88 h 123"/>
                  <a:gd name="T2" fmla="*/ 10 w 233"/>
                  <a:gd name="T3" fmla="*/ 78 h 123"/>
                  <a:gd name="T4" fmla="*/ 0 w 233"/>
                  <a:gd name="T5" fmla="*/ 55 h 123"/>
                  <a:gd name="T6" fmla="*/ 20 w 233"/>
                  <a:gd name="T7" fmla="*/ 37 h 123"/>
                  <a:gd name="T8" fmla="*/ 40 w 233"/>
                  <a:gd name="T9" fmla="*/ 37 h 123"/>
                  <a:gd name="T10" fmla="*/ 61 w 233"/>
                  <a:gd name="T11" fmla="*/ 37 h 123"/>
                  <a:gd name="T12" fmla="*/ 72 w 233"/>
                  <a:gd name="T13" fmla="*/ 36 h 123"/>
                  <a:gd name="T14" fmla="*/ 83 w 233"/>
                  <a:gd name="T15" fmla="*/ 33 h 123"/>
                  <a:gd name="T16" fmla="*/ 104 w 233"/>
                  <a:gd name="T17" fmla="*/ 23 h 123"/>
                  <a:gd name="T18" fmla="*/ 123 w 233"/>
                  <a:gd name="T19" fmla="*/ 11 h 123"/>
                  <a:gd name="T20" fmla="*/ 146 w 233"/>
                  <a:gd name="T21" fmla="*/ 0 h 123"/>
                  <a:gd name="T22" fmla="*/ 161 w 233"/>
                  <a:gd name="T23" fmla="*/ 8 h 123"/>
                  <a:gd name="T24" fmla="*/ 181 w 233"/>
                  <a:gd name="T25" fmla="*/ 12 h 123"/>
                  <a:gd name="T26" fmla="*/ 190 w 233"/>
                  <a:gd name="T27" fmla="*/ 10 h 123"/>
                  <a:gd name="T28" fmla="*/ 201 w 233"/>
                  <a:gd name="T29" fmla="*/ 6 h 123"/>
                  <a:gd name="T30" fmla="*/ 213 w 233"/>
                  <a:gd name="T31" fmla="*/ 0 h 123"/>
                  <a:gd name="T32" fmla="*/ 232 w 233"/>
                  <a:gd name="T33" fmla="*/ 6 h 123"/>
                  <a:gd name="T34" fmla="*/ 228 w 233"/>
                  <a:gd name="T35" fmla="*/ 18 h 123"/>
                  <a:gd name="T36" fmla="*/ 219 w 233"/>
                  <a:gd name="T37" fmla="*/ 25 h 123"/>
                  <a:gd name="T38" fmla="*/ 207 w 233"/>
                  <a:gd name="T39" fmla="*/ 30 h 123"/>
                  <a:gd name="T40" fmla="*/ 201 w 233"/>
                  <a:gd name="T41" fmla="*/ 43 h 123"/>
                  <a:gd name="T42" fmla="*/ 206 w 233"/>
                  <a:gd name="T43" fmla="*/ 62 h 123"/>
                  <a:gd name="T44" fmla="*/ 185 w 233"/>
                  <a:gd name="T45" fmla="*/ 85 h 123"/>
                  <a:gd name="T46" fmla="*/ 157 w 233"/>
                  <a:gd name="T47" fmla="*/ 96 h 123"/>
                  <a:gd name="T48" fmla="*/ 139 w 233"/>
                  <a:gd name="T49" fmla="*/ 98 h 123"/>
                  <a:gd name="T50" fmla="*/ 116 w 233"/>
                  <a:gd name="T51" fmla="*/ 100 h 123"/>
                  <a:gd name="T52" fmla="*/ 96 w 233"/>
                  <a:gd name="T53" fmla="*/ 106 h 123"/>
                  <a:gd name="T54" fmla="*/ 82 w 233"/>
                  <a:gd name="T55" fmla="*/ 115 h 123"/>
                  <a:gd name="T56" fmla="*/ 67 w 233"/>
                  <a:gd name="T57" fmla="*/ 122 h 123"/>
                  <a:gd name="T58" fmla="*/ 58 w 233"/>
                  <a:gd name="T59" fmla="*/ 122 h 123"/>
                  <a:gd name="T60" fmla="*/ 53 w 233"/>
                  <a:gd name="T61" fmla="*/ 115 h 123"/>
                  <a:gd name="T62" fmla="*/ 48 w 233"/>
                  <a:gd name="T63" fmla="*/ 10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31" name="Freeform 425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147 h 172"/>
                  <a:gd name="T2" fmla="*/ 3 w 484"/>
                  <a:gd name="T3" fmla="*/ 156 h 172"/>
                  <a:gd name="T4" fmla="*/ 9 w 484"/>
                  <a:gd name="T5" fmla="*/ 162 h 172"/>
                  <a:gd name="T6" fmla="*/ 17 w 484"/>
                  <a:gd name="T7" fmla="*/ 167 h 172"/>
                  <a:gd name="T8" fmla="*/ 31 w 484"/>
                  <a:gd name="T9" fmla="*/ 170 h 172"/>
                  <a:gd name="T10" fmla="*/ 51 w 484"/>
                  <a:gd name="T11" fmla="*/ 172 h 172"/>
                  <a:gd name="T12" fmla="*/ 73 w 484"/>
                  <a:gd name="T13" fmla="*/ 172 h 172"/>
                  <a:gd name="T14" fmla="*/ 99 w 484"/>
                  <a:gd name="T15" fmla="*/ 167 h 172"/>
                  <a:gd name="T16" fmla="*/ 139 w 484"/>
                  <a:gd name="T17" fmla="*/ 156 h 172"/>
                  <a:gd name="T18" fmla="*/ 189 w 484"/>
                  <a:gd name="T19" fmla="*/ 135 h 172"/>
                  <a:gd name="T20" fmla="*/ 240 w 484"/>
                  <a:gd name="T21" fmla="*/ 113 h 172"/>
                  <a:gd name="T22" fmla="*/ 287 w 484"/>
                  <a:gd name="T23" fmla="*/ 100 h 172"/>
                  <a:gd name="T24" fmla="*/ 350 w 484"/>
                  <a:gd name="T25" fmla="*/ 87 h 172"/>
                  <a:gd name="T26" fmla="*/ 401 w 484"/>
                  <a:gd name="T27" fmla="*/ 75 h 172"/>
                  <a:gd name="T28" fmla="*/ 434 w 484"/>
                  <a:gd name="T29" fmla="*/ 64 h 172"/>
                  <a:gd name="T30" fmla="*/ 461 w 484"/>
                  <a:gd name="T31" fmla="*/ 52 h 172"/>
                  <a:gd name="T32" fmla="*/ 475 w 484"/>
                  <a:gd name="T33" fmla="*/ 42 h 172"/>
                  <a:gd name="T34" fmla="*/ 482 w 484"/>
                  <a:gd name="T35" fmla="*/ 35 h 172"/>
                  <a:gd name="T36" fmla="*/ 449 w 484"/>
                  <a:gd name="T37" fmla="*/ 26 h 172"/>
                  <a:gd name="T38" fmla="*/ 387 w 484"/>
                  <a:gd name="T39" fmla="*/ 16 h 172"/>
                  <a:gd name="T40" fmla="*/ 331 w 484"/>
                  <a:gd name="T41" fmla="*/ 6 h 172"/>
                  <a:gd name="T42" fmla="*/ 272 w 484"/>
                  <a:gd name="T43" fmla="*/ 0 h 172"/>
                  <a:gd name="T44" fmla="*/ 225 w 484"/>
                  <a:gd name="T45" fmla="*/ 0 h 172"/>
                  <a:gd name="T46" fmla="*/ 203 w 484"/>
                  <a:gd name="T47" fmla="*/ 4 h 172"/>
                  <a:gd name="T48" fmla="*/ 186 w 484"/>
                  <a:gd name="T49" fmla="*/ 8 h 172"/>
                  <a:gd name="T50" fmla="*/ 176 w 484"/>
                  <a:gd name="T51" fmla="*/ 6 h 172"/>
                  <a:gd name="T52" fmla="*/ 169 w 484"/>
                  <a:gd name="T53" fmla="*/ 3 h 172"/>
                  <a:gd name="T54" fmla="*/ 165 w 484"/>
                  <a:gd name="T55" fmla="*/ 8 h 172"/>
                  <a:gd name="T56" fmla="*/ 161 w 484"/>
                  <a:gd name="T57" fmla="*/ 24 h 172"/>
                  <a:gd name="T58" fmla="*/ 154 w 484"/>
                  <a:gd name="T59" fmla="*/ 36 h 172"/>
                  <a:gd name="T60" fmla="*/ 144 w 484"/>
                  <a:gd name="T61" fmla="*/ 46 h 172"/>
                  <a:gd name="T62" fmla="*/ 127 w 484"/>
                  <a:gd name="T63" fmla="*/ 58 h 172"/>
                  <a:gd name="T64" fmla="*/ 97 w 484"/>
                  <a:gd name="T65" fmla="*/ 69 h 172"/>
                  <a:gd name="T66" fmla="*/ 66 w 484"/>
                  <a:gd name="T67" fmla="*/ 78 h 172"/>
                  <a:gd name="T68" fmla="*/ 38 w 484"/>
                  <a:gd name="T69" fmla="*/ 88 h 172"/>
                  <a:gd name="T70" fmla="*/ 19 w 484"/>
                  <a:gd name="T71" fmla="*/ 98 h 172"/>
                  <a:gd name="T72" fmla="*/ 10 w 484"/>
                  <a:gd name="T73" fmla="*/ 107 h 172"/>
                  <a:gd name="T74" fmla="*/ 3 w 484"/>
                  <a:gd name="T75" fmla="*/ 119 h 172"/>
                  <a:gd name="T76" fmla="*/ 0 w 484"/>
                  <a:gd name="T77" fmla="*/ 13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32" name="Freeform 426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317 w 684"/>
                  <a:gd name="T1" fmla="*/ 5 h 240"/>
                  <a:gd name="T2" fmla="*/ 304 w 684"/>
                  <a:gd name="T3" fmla="*/ 27 h 240"/>
                  <a:gd name="T4" fmla="*/ 297 w 684"/>
                  <a:gd name="T5" fmla="*/ 41 h 240"/>
                  <a:gd name="T6" fmla="*/ 299 w 684"/>
                  <a:gd name="T7" fmla="*/ 43 h 240"/>
                  <a:gd name="T8" fmla="*/ 337 w 684"/>
                  <a:gd name="T9" fmla="*/ 39 h 240"/>
                  <a:gd name="T10" fmla="*/ 372 w 684"/>
                  <a:gd name="T11" fmla="*/ 19 h 240"/>
                  <a:gd name="T12" fmla="*/ 379 w 684"/>
                  <a:gd name="T13" fmla="*/ 38 h 240"/>
                  <a:gd name="T14" fmla="*/ 377 w 684"/>
                  <a:gd name="T15" fmla="*/ 55 h 240"/>
                  <a:gd name="T16" fmla="*/ 405 w 684"/>
                  <a:gd name="T17" fmla="*/ 69 h 240"/>
                  <a:gd name="T18" fmla="*/ 511 w 684"/>
                  <a:gd name="T19" fmla="*/ 51 h 240"/>
                  <a:gd name="T20" fmla="*/ 514 w 684"/>
                  <a:gd name="T21" fmla="*/ 70 h 240"/>
                  <a:gd name="T22" fmla="*/ 541 w 684"/>
                  <a:gd name="T23" fmla="*/ 63 h 240"/>
                  <a:gd name="T24" fmla="*/ 557 w 684"/>
                  <a:gd name="T25" fmla="*/ 45 h 240"/>
                  <a:gd name="T26" fmla="*/ 558 w 684"/>
                  <a:gd name="T27" fmla="*/ 19 h 240"/>
                  <a:gd name="T28" fmla="*/ 563 w 684"/>
                  <a:gd name="T29" fmla="*/ 8 h 240"/>
                  <a:gd name="T30" fmla="*/ 579 w 684"/>
                  <a:gd name="T31" fmla="*/ 0 h 240"/>
                  <a:gd name="T32" fmla="*/ 624 w 684"/>
                  <a:gd name="T33" fmla="*/ 3 h 240"/>
                  <a:gd name="T34" fmla="*/ 645 w 684"/>
                  <a:gd name="T35" fmla="*/ 0 h 240"/>
                  <a:gd name="T36" fmla="*/ 657 w 684"/>
                  <a:gd name="T37" fmla="*/ 39 h 240"/>
                  <a:gd name="T38" fmla="*/ 653 w 684"/>
                  <a:gd name="T39" fmla="*/ 70 h 240"/>
                  <a:gd name="T40" fmla="*/ 637 w 684"/>
                  <a:gd name="T41" fmla="*/ 101 h 240"/>
                  <a:gd name="T42" fmla="*/ 618 w 684"/>
                  <a:gd name="T43" fmla="*/ 124 h 240"/>
                  <a:gd name="T44" fmla="*/ 648 w 684"/>
                  <a:gd name="T45" fmla="*/ 137 h 240"/>
                  <a:gd name="T46" fmla="*/ 672 w 684"/>
                  <a:gd name="T47" fmla="*/ 145 h 240"/>
                  <a:gd name="T48" fmla="*/ 684 w 684"/>
                  <a:gd name="T49" fmla="*/ 180 h 240"/>
                  <a:gd name="T50" fmla="*/ 639 w 684"/>
                  <a:gd name="T51" fmla="*/ 185 h 240"/>
                  <a:gd name="T52" fmla="*/ 608 w 684"/>
                  <a:gd name="T53" fmla="*/ 181 h 240"/>
                  <a:gd name="T54" fmla="*/ 574 w 684"/>
                  <a:gd name="T55" fmla="*/ 180 h 240"/>
                  <a:gd name="T56" fmla="*/ 564 w 684"/>
                  <a:gd name="T57" fmla="*/ 184 h 240"/>
                  <a:gd name="T58" fmla="*/ 542 w 684"/>
                  <a:gd name="T59" fmla="*/ 200 h 240"/>
                  <a:gd name="T60" fmla="*/ 524 w 684"/>
                  <a:gd name="T61" fmla="*/ 209 h 240"/>
                  <a:gd name="T62" fmla="*/ 493 w 684"/>
                  <a:gd name="T63" fmla="*/ 209 h 240"/>
                  <a:gd name="T64" fmla="*/ 452 w 684"/>
                  <a:gd name="T65" fmla="*/ 204 h 240"/>
                  <a:gd name="T66" fmla="*/ 422 w 684"/>
                  <a:gd name="T67" fmla="*/ 198 h 240"/>
                  <a:gd name="T68" fmla="*/ 337 w 684"/>
                  <a:gd name="T69" fmla="*/ 211 h 240"/>
                  <a:gd name="T70" fmla="*/ 231 w 684"/>
                  <a:gd name="T71" fmla="*/ 230 h 240"/>
                  <a:gd name="T72" fmla="*/ 169 w 684"/>
                  <a:gd name="T73" fmla="*/ 238 h 240"/>
                  <a:gd name="T74" fmla="*/ 124 w 684"/>
                  <a:gd name="T75" fmla="*/ 238 h 240"/>
                  <a:gd name="T76" fmla="*/ 100 w 684"/>
                  <a:gd name="T77" fmla="*/ 228 h 240"/>
                  <a:gd name="T78" fmla="*/ 67 w 684"/>
                  <a:gd name="T79" fmla="*/ 208 h 240"/>
                  <a:gd name="T80" fmla="*/ 29 w 684"/>
                  <a:gd name="T81" fmla="*/ 196 h 240"/>
                  <a:gd name="T82" fmla="*/ 0 w 684"/>
                  <a:gd name="T83" fmla="*/ 173 h 240"/>
                  <a:gd name="T84" fmla="*/ 64 w 684"/>
                  <a:gd name="T85" fmla="*/ 159 h 240"/>
                  <a:gd name="T86" fmla="*/ 100 w 684"/>
                  <a:gd name="T87" fmla="*/ 154 h 240"/>
                  <a:gd name="T88" fmla="*/ 156 w 684"/>
                  <a:gd name="T89" fmla="*/ 160 h 240"/>
                  <a:gd name="T90" fmla="*/ 201 w 684"/>
                  <a:gd name="T91" fmla="*/ 165 h 240"/>
                  <a:gd name="T92" fmla="*/ 224 w 684"/>
                  <a:gd name="T93" fmla="*/ 162 h 240"/>
                  <a:gd name="T94" fmla="*/ 26 w 684"/>
                  <a:gd name="T95" fmla="*/ 136 h 240"/>
                  <a:gd name="T96" fmla="*/ 52 w 684"/>
                  <a:gd name="T97" fmla="*/ 128 h 240"/>
                  <a:gd name="T98" fmla="*/ 109 w 684"/>
                  <a:gd name="T99" fmla="*/ 117 h 240"/>
                  <a:gd name="T100" fmla="*/ 165 w 684"/>
                  <a:gd name="T101" fmla="*/ 108 h 240"/>
                  <a:gd name="T102" fmla="*/ 187 w 684"/>
                  <a:gd name="T103" fmla="*/ 99 h 240"/>
                  <a:gd name="T104" fmla="*/ 166 w 684"/>
                  <a:gd name="T105" fmla="*/ 93 h 240"/>
                  <a:gd name="T106" fmla="*/ 125 w 684"/>
                  <a:gd name="T107" fmla="*/ 98 h 240"/>
                  <a:gd name="T108" fmla="*/ 71 w 684"/>
                  <a:gd name="T109" fmla="*/ 110 h 240"/>
                  <a:gd name="T110" fmla="*/ 52 w 684"/>
                  <a:gd name="T111" fmla="*/ 106 h 240"/>
                  <a:gd name="T112" fmla="*/ 55 w 684"/>
                  <a:gd name="T113" fmla="*/ 90 h 240"/>
                  <a:gd name="T114" fmla="*/ 54 w 684"/>
                  <a:gd name="T115" fmla="*/ 81 h 240"/>
                  <a:gd name="T116" fmla="*/ 59 w 684"/>
                  <a:gd name="T117" fmla="*/ 78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33" name="Freeform 427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180 w 332"/>
                  <a:gd name="T1" fmla="*/ 38 h 287"/>
                  <a:gd name="T2" fmla="*/ 202 w 332"/>
                  <a:gd name="T3" fmla="*/ 24 h 287"/>
                  <a:gd name="T4" fmla="*/ 226 w 332"/>
                  <a:gd name="T5" fmla="*/ 7 h 287"/>
                  <a:gd name="T6" fmla="*/ 240 w 332"/>
                  <a:gd name="T7" fmla="*/ 1 h 287"/>
                  <a:gd name="T8" fmla="*/ 246 w 332"/>
                  <a:gd name="T9" fmla="*/ 1 h 287"/>
                  <a:gd name="T10" fmla="*/ 245 w 332"/>
                  <a:gd name="T11" fmla="*/ 12 h 287"/>
                  <a:gd name="T12" fmla="*/ 234 w 332"/>
                  <a:gd name="T13" fmla="*/ 33 h 287"/>
                  <a:gd name="T14" fmla="*/ 217 w 332"/>
                  <a:gd name="T15" fmla="*/ 55 h 287"/>
                  <a:gd name="T16" fmla="*/ 202 w 332"/>
                  <a:gd name="T17" fmla="*/ 67 h 287"/>
                  <a:gd name="T18" fmla="*/ 191 w 332"/>
                  <a:gd name="T19" fmla="*/ 71 h 287"/>
                  <a:gd name="T20" fmla="*/ 191 w 332"/>
                  <a:gd name="T21" fmla="*/ 73 h 287"/>
                  <a:gd name="T22" fmla="*/ 201 w 332"/>
                  <a:gd name="T23" fmla="*/ 74 h 287"/>
                  <a:gd name="T24" fmla="*/ 216 w 332"/>
                  <a:gd name="T25" fmla="*/ 72 h 287"/>
                  <a:gd name="T26" fmla="*/ 224 w 332"/>
                  <a:gd name="T27" fmla="*/ 77 h 287"/>
                  <a:gd name="T28" fmla="*/ 217 w 332"/>
                  <a:gd name="T29" fmla="*/ 88 h 287"/>
                  <a:gd name="T30" fmla="*/ 214 w 332"/>
                  <a:gd name="T31" fmla="*/ 97 h 287"/>
                  <a:gd name="T32" fmla="*/ 217 w 332"/>
                  <a:gd name="T33" fmla="*/ 105 h 287"/>
                  <a:gd name="T34" fmla="*/ 249 w 332"/>
                  <a:gd name="T35" fmla="*/ 113 h 287"/>
                  <a:gd name="T36" fmla="*/ 308 w 332"/>
                  <a:gd name="T37" fmla="*/ 124 h 287"/>
                  <a:gd name="T38" fmla="*/ 322 w 332"/>
                  <a:gd name="T39" fmla="*/ 131 h 287"/>
                  <a:gd name="T40" fmla="*/ 315 w 332"/>
                  <a:gd name="T41" fmla="*/ 140 h 287"/>
                  <a:gd name="T42" fmla="*/ 303 w 332"/>
                  <a:gd name="T43" fmla="*/ 149 h 287"/>
                  <a:gd name="T44" fmla="*/ 299 w 332"/>
                  <a:gd name="T45" fmla="*/ 154 h 287"/>
                  <a:gd name="T46" fmla="*/ 302 w 332"/>
                  <a:gd name="T47" fmla="*/ 160 h 287"/>
                  <a:gd name="T48" fmla="*/ 308 w 332"/>
                  <a:gd name="T49" fmla="*/ 168 h 287"/>
                  <a:gd name="T50" fmla="*/ 319 w 332"/>
                  <a:gd name="T51" fmla="*/ 176 h 287"/>
                  <a:gd name="T52" fmla="*/ 329 w 332"/>
                  <a:gd name="T53" fmla="*/ 184 h 287"/>
                  <a:gd name="T54" fmla="*/ 290 w 332"/>
                  <a:gd name="T55" fmla="*/ 211 h 287"/>
                  <a:gd name="T56" fmla="*/ 241 w 332"/>
                  <a:gd name="T57" fmla="*/ 241 h 287"/>
                  <a:gd name="T58" fmla="*/ 207 w 332"/>
                  <a:gd name="T59" fmla="*/ 268 h 287"/>
                  <a:gd name="T60" fmla="*/ 173 w 332"/>
                  <a:gd name="T61" fmla="*/ 244 h 287"/>
                  <a:gd name="T62" fmla="*/ 182 w 332"/>
                  <a:gd name="T63" fmla="*/ 243 h 287"/>
                  <a:gd name="T64" fmla="*/ 189 w 332"/>
                  <a:gd name="T65" fmla="*/ 240 h 287"/>
                  <a:gd name="T66" fmla="*/ 200 w 332"/>
                  <a:gd name="T67" fmla="*/ 232 h 287"/>
                  <a:gd name="T68" fmla="*/ 149 w 332"/>
                  <a:gd name="T69" fmla="*/ 232 h 287"/>
                  <a:gd name="T70" fmla="*/ 101 w 332"/>
                  <a:gd name="T71" fmla="*/ 232 h 287"/>
                  <a:gd name="T72" fmla="*/ 58 w 332"/>
                  <a:gd name="T73" fmla="*/ 232 h 287"/>
                  <a:gd name="T74" fmla="*/ 27 w 332"/>
                  <a:gd name="T75" fmla="*/ 232 h 287"/>
                  <a:gd name="T76" fmla="*/ 11 w 332"/>
                  <a:gd name="T77" fmla="*/ 227 h 287"/>
                  <a:gd name="T78" fmla="*/ 3 w 332"/>
                  <a:gd name="T79" fmla="*/ 222 h 287"/>
                  <a:gd name="T80" fmla="*/ 0 w 332"/>
                  <a:gd name="T81" fmla="*/ 213 h 287"/>
                  <a:gd name="T82" fmla="*/ 4 w 332"/>
                  <a:gd name="T83" fmla="*/ 205 h 287"/>
                  <a:gd name="T84" fmla="*/ 13 w 332"/>
                  <a:gd name="T85" fmla="*/ 197 h 287"/>
                  <a:gd name="T86" fmla="*/ 41 w 332"/>
                  <a:gd name="T87" fmla="*/ 179 h 287"/>
                  <a:gd name="T88" fmla="*/ 73 w 332"/>
                  <a:gd name="T89" fmla="*/ 162 h 287"/>
                  <a:gd name="T90" fmla="*/ 85 w 332"/>
                  <a:gd name="T91" fmla="*/ 152 h 287"/>
                  <a:gd name="T92" fmla="*/ 93 w 332"/>
                  <a:gd name="T93" fmla="*/ 145 h 287"/>
                  <a:gd name="T94" fmla="*/ 106 w 332"/>
                  <a:gd name="T95" fmla="*/ 130 h 287"/>
                  <a:gd name="T96" fmla="*/ 116 w 332"/>
                  <a:gd name="T97" fmla="*/ 114 h 287"/>
                  <a:gd name="T98" fmla="*/ 130 w 332"/>
                  <a:gd name="T99" fmla="*/ 79 h 287"/>
                  <a:gd name="T100" fmla="*/ 138 w 332"/>
                  <a:gd name="T101" fmla="*/ 64 h 287"/>
                  <a:gd name="T102" fmla="*/ 147 w 332"/>
                  <a:gd name="T103" fmla="*/ 52 h 287"/>
                  <a:gd name="T104" fmla="*/ 158 w 332"/>
                  <a:gd name="T105" fmla="*/ 43 h 287"/>
                  <a:gd name="T106" fmla="*/ 173 w 332"/>
                  <a:gd name="T107" fmla="*/ 40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34" name="Freeform 428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106 w 345"/>
                  <a:gd name="T1" fmla="*/ 86 h 86"/>
                  <a:gd name="T2" fmla="*/ 119 w 345"/>
                  <a:gd name="T3" fmla="*/ 81 h 86"/>
                  <a:gd name="T4" fmla="*/ 133 w 345"/>
                  <a:gd name="T5" fmla="*/ 76 h 86"/>
                  <a:gd name="T6" fmla="*/ 148 w 345"/>
                  <a:gd name="T7" fmla="*/ 72 h 86"/>
                  <a:gd name="T8" fmla="*/ 164 w 345"/>
                  <a:gd name="T9" fmla="*/ 69 h 86"/>
                  <a:gd name="T10" fmla="*/ 197 w 345"/>
                  <a:gd name="T11" fmla="*/ 63 h 86"/>
                  <a:gd name="T12" fmla="*/ 231 w 345"/>
                  <a:gd name="T13" fmla="*/ 57 h 86"/>
                  <a:gd name="T14" fmla="*/ 247 w 345"/>
                  <a:gd name="T15" fmla="*/ 53 h 86"/>
                  <a:gd name="T16" fmla="*/ 264 w 345"/>
                  <a:gd name="T17" fmla="*/ 50 h 86"/>
                  <a:gd name="T18" fmla="*/ 279 w 345"/>
                  <a:gd name="T19" fmla="*/ 46 h 86"/>
                  <a:gd name="T20" fmla="*/ 294 w 345"/>
                  <a:gd name="T21" fmla="*/ 40 h 86"/>
                  <a:gd name="T22" fmla="*/ 309 w 345"/>
                  <a:gd name="T23" fmla="*/ 35 h 86"/>
                  <a:gd name="T24" fmla="*/ 322 w 345"/>
                  <a:gd name="T25" fmla="*/ 28 h 86"/>
                  <a:gd name="T26" fmla="*/ 334 w 345"/>
                  <a:gd name="T27" fmla="*/ 21 h 86"/>
                  <a:gd name="T28" fmla="*/ 345 w 345"/>
                  <a:gd name="T29" fmla="*/ 13 h 86"/>
                  <a:gd name="T30" fmla="*/ 335 w 345"/>
                  <a:gd name="T31" fmla="*/ 12 h 86"/>
                  <a:gd name="T32" fmla="*/ 326 w 345"/>
                  <a:gd name="T33" fmla="*/ 11 h 86"/>
                  <a:gd name="T34" fmla="*/ 317 w 345"/>
                  <a:gd name="T35" fmla="*/ 9 h 86"/>
                  <a:gd name="T36" fmla="*/ 309 w 345"/>
                  <a:gd name="T37" fmla="*/ 6 h 86"/>
                  <a:gd name="T38" fmla="*/ 300 w 345"/>
                  <a:gd name="T39" fmla="*/ 4 h 86"/>
                  <a:gd name="T40" fmla="*/ 291 w 345"/>
                  <a:gd name="T41" fmla="*/ 2 h 86"/>
                  <a:gd name="T42" fmla="*/ 281 w 345"/>
                  <a:gd name="T43" fmla="*/ 1 h 86"/>
                  <a:gd name="T44" fmla="*/ 272 w 345"/>
                  <a:gd name="T45" fmla="*/ 0 h 86"/>
                  <a:gd name="T46" fmla="*/ 259 w 345"/>
                  <a:gd name="T47" fmla="*/ 1 h 86"/>
                  <a:gd name="T48" fmla="*/ 245 w 345"/>
                  <a:gd name="T49" fmla="*/ 3 h 86"/>
                  <a:gd name="T50" fmla="*/ 227 w 345"/>
                  <a:gd name="T51" fmla="*/ 5 h 86"/>
                  <a:gd name="T52" fmla="*/ 209 w 345"/>
                  <a:gd name="T53" fmla="*/ 9 h 86"/>
                  <a:gd name="T54" fmla="*/ 168 w 345"/>
                  <a:gd name="T55" fmla="*/ 18 h 86"/>
                  <a:gd name="T56" fmla="*/ 126 w 345"/>
                  <a:gd name="T57" fmla="*/ 29 h 86"/>
                  <a:gd name="T58" fmla="*/ 104 w 345"/>
                  <a:gd name="T59" fmla="*/ 36 h 86"/>
                  <a:gd name="T60" fmla="*/ 85 w 345"/>
                  <a:gd name="T61" fmla="*/ 42 h 86"/>
                  <a:gd name="T62" fmla="*/ 66 w 345"/>
                  <a:gd name="T63" fmla="*/ 50 h 86"/>
                  <a:gd name="T64" fmla="*/ 47 w 345"/>
                  <a:gd name="T65" fmla="*/ 58 h 86"/>
                  <a:gd name="T66" fmla="*/ 32 w 345"/>
                  <a:gd name="T67" fmla="*/ 65 h 86"/>
                  <a:gd name="T68" fmla="*/ 19 w 345"/>
                  <a:gd name="T69" fmla="*/ 72 h 86"/>
                  <a:gd name="T70" fmla="*/ 8 w 345"/>
                  <a:gd name="T71" fmla="*/ 79 h 86"/>
                  <a:gd name="T72" fmla="*/ 0 w 345"/>
                  <a:gd name="T73" fmla="*/ 86 h 86"/>
                  <a:gd name="T74" fmla="*/ 106 w 345"/>
                  <a:gd name="T75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35" name="Freeform 429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19 w 464"/>
                  <a:gd name="T1" fmla="*/ 86 h 130"/>
                  <a:gd name="T2" fmla="*/ 77 w 464"/>
                  <a:gd name="T3" fmla="*/ 81 h 130"/>
                  <a:gd name="T4" fmla="*/ 103 w 464"/>
                  <a:gd name="T5" fmla="*/ 81 h 130"/>
                  <a:gd name="T6" fmla="*/ 92 w 464"/>
                  <a:gd name="T7" fmla="*/ 89 h 130"/>
                  <a:gd name="T8" fmla="*/ 81 w 464"/>
                  <a:gd name="T9" fmla="*/ 100 h 130"/>
                  <a:gd name="T10" fmla="*/ 73 w 464"/>
                  <a:gd name="T11" fmla="*/ 112 h 130"/>
                  <a:gd name="T12" fmla="*/ 73 w 464"/>
                  <a:gd name="T13" fmla="*/ 119 h 130"/>
                  <a:gd name="T14" fmla="*/ 79 w 464"/>
                  <a:gd name="T15" fmla="*/ 124 h 130"/>
                  <a:gd name="T16" fmla="*/ 92 w 464"/>
                  <a:gd name="T17" fmla="*/ 129 h 130"/>
                  <a:gd name="T18" fmla="*/ 109 w 464"/>
                  <a:gd name="T19" fmla="*/ 129 h 130"/>
                  <a:gd name="T20" fmla="*/ 128 w 464"/>
                  <a:gd name="T21" fmla="*/ 127 h 130"/>
                  <a:gd name="T22" fmla="*/ 157 w 464"/>
                  <a:gd name="T23" fmla="*/ 119 h 130"/>
                  <a:gd name="T24" fmla="*/ 196 w 464"/>
                  <a:gd name="T25" fmla="*/ 108 h 130"/>
                  <a:gd name="T26" fmla="*/ 226 w 464"/>
                  <a:gd name="T27" fmla="*/ 101 h 130"/>
                  <a:gd name="T28" fmla="*/ 248 w 464"/>
                  <a:gd name="T29" fmla="*/ 99 h 130"/>
                  <a:gd name="T30" fmla="*/ 266 w 464"/>
                  <a:gd name="T31" fmla="*/ 99 h 130"/>
                  <a:gd name="T32" fmla="*/ 304 w 464"/>
                  <a:gd name="T33" fmla="*/ 99 h 130"/>
                  <a:gd name="T34" fmla="*/ 333 w 464"/>
                  <a:gd name="T35" fmla="*/ 98 h 130"/>
                  <a:gd name="T36" fmla="*/ 376 w 464"/>
                  <a:gd name="T37" fmla="*/ 93 h 130"/>
                  <a:gd name="T38" fmla="*/ 415 w 464"/>
                  <a:gd name="T39" fmla="*/ 83 h 130"/>
                  <a:gd name="T40" fmla="*/ 449 w 464"/>
                  <a:gd name="T41" fmla="*/ 66 h 130"/>
                  <a:gd name="T42" fmla="*/ 455 w 464"/>
                  <a:gd name="T43" fmla="*/ 51 h 130"/>
                  <a:gd name="T44" fmla="*/ 439 w 464"/>
                  <a:gd name="T45" fmla="*/ 48 h 130"/>
                  <a:gd name="T46" fmla="*/ 413 w 464"/>
                  <a:gd name="T47" fmla="*/ 48 h 130"/>
                  <a:gd name="T48" fmla="*/ 396 w 464"/>
                  <a:gd name="T49" fmla="*/ 46 h 130"/>
                  <a:gd name="T50" fmla="*/ 406 w 464"/>
                  <a:gd name="T51" fmla="*/ 36 h 130"/>
                  <a:gd name="T52" fmla="*/ 413 w 464"/>
                  <a:gd name="T53" fmla="*/ 22 h 130"/>
                  <a:gd name="T54" fmla="*/ 418 w 464"/>
                  <a:gd name="T55" fmla="*/ 7 h 130"/>
                  <a:gd name="T56" fmla="*/ 378 w 464"/>
                  <a:gd name="T57" fmla="*/ 0 h 130"/>
                  <a:gd name="T58" fmla="*/ 360 w 464"/>
                  <a:gd name="T59" fmla="*/ 19 h 130"/>
                  <a:gd name="T60" fmla="*/ 343 w 464"/>
                  <a:gd name="T61" fmla="*/ 41 h 130"/>
                  <a:gd name="T62" fmla="*/ 323 w 464"/>
                  <a:gd name="T63" fmla="*/ 59 h 130"/>
                  <a:gd name="T64" fmla="*/ 312 w 464"/>
                  <a:gd name="T65" fmla="*/ 65 h 130"/>
                  <a:gd name="T66" fmla="*/ 298 w 464"/>
                  <a:gd name="T67" fmla="*/ 68 h 130"/>
                  <a:gd name="T68" fmla="*/ 278 w 464"/>
                  <a:gd name="T69" fmla="*/ 66 h 130"/>
                  <a:gd name="T70" fmla="*/ 262 w 464"/>
                  <a:gd name="T71" fmla="*/ 63 h 130"/>
                  <a:gd name="T72" fmla="*/ 239 w 464"/>
                  <a:gd name="T73" fmla="*/ 54 h 130"/>
                  <a:gd name="T74" fmla="*/ 205 w 464"/>
                  <a:gd name="T75" fmla="*/ 31 h 130"/>
                  <a:gd name="T76" fmla="*/ 180 w 464"/>
                  <a:gd name="T77" fmla="*/ 29 h 130"/>
                  <a:gd name="T78" fmla="*/ 150 w 464"/>
                  <a:gd name="T79" fmla="*/ 31 h 130"/>
                  <a:gd name="T80" fmla="*/ 117 w 464"/>
                  <a:gd name="T81" fmla="*/ 37 h 130"/>
                  <a:gd name="T82" fmla="*/ 85 w 464"/>
                  <a:gd name="T83" fmla="*/ 45 h 130"/>
                  <a:gd name="T84" fmla="*/ 54 w 464"/>
                  <a:gd name="T85" fmla="*/ 54 h 130"/>
                  <a:gd name="T86" fmla="*/ 29 w 464"/>
                  <a:gd name="T87" fmla="*/ 65 h 130"/>
                  <a:gd name="T88" fmla="*/ 9 w 464"/>
                  <a:gd name="T89" fmla="*/ 77 h 130"/>
                  <a:gd name="T90" fmla="*/ 0 w 464"/>
                  <a:gd name="T91" fmla="*/ 86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36" name="Freeform 430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63 w 472"/>
                  <a:gd name="T1" fmla="*/ 0 h 92"/>
                  <a:gd name="T2" fmla="*/ 44 w 472"/>
                  <a:gd name="T3" fmla="*/ 0 h 92"/>
                  <a:gd name="T4" fmla="*/ 24 w 472"/>
                  <a:gd name="T5" fmla="*/ 0 h 92"/>
                  <a:gd name="T6" fmla="*/ 12 w 472"/>
                  <a:gd name="T7" fmla="*/ 3 h 92"/>
                  <a:gd name="T8" fmla="*/ 7 w 472"/>
                  <a:gd name="T9" fmla="*/ 8 h 92"/>
                  <a:gd name="T10" fmla="*/ 7 w 472"/>
                  <a:gd name="T11" fmla="*/ 16 h 92"/>
                  <a:gd name="T12" fmla="*/ 10 w 472"/>
                  <a:gd name="T13" fmla="*/ 23 h 92"/>
                  <a:gd name="T14" fmla="*/ 15 w 472"/>
                  <a:gd name="T15" fmla="*/ 32 h 92"/>
                  <a:gd name="T16" fmla="*/ 14 w 472"/>
                  <a:gd name="T17" fmla="*/ 41 h 92"/>
                  <a:gd name="T18" fmla="*/ 4 w 472"/>
                  <a:gd name="T19" fmla="*/ 50 h 92"/>
                  <a:gd name="T20" fmla="*/ 1 w 472"/>
                  <a:gd name="T21" fmla="*/ 57 h 92"/>
                  <a:gd name="T22" fmla="*/ 2 w 472"/>
                  <a:gd name="T23" fmla="*/ 64 h 92"/>
                  <a:gd name="T24" fmla="*/ 14 w 472"/>
                  <a:gd name="T25" fmla="*/ 69 h 92"/>
                  <a:gd name="T26" fmla="*/ 48 w 472"/>
                  <a:gd name="T27" fmla="*/ 76 h 92"/>
                  <a:gd name="T28" fmla="*/ 109 w 472"/>
                  <a:gd name="T29" fmla="*/ 85 h 92"/>
                  <a:gd name="T30" fmla="*/ 167 w 472"/>
                  <a:gd name="T31" fmla="*/ 91 h 92"/>
                  <a:gd name="T32" fmla="*/ 365 w 472"/>
                  <a:gd name="T33" fmla="*/ 92 h 92"/>
                  <a:gd name="T34" fmla="*/ 374 w 472"/>
                  <a:gd name="T35" fmla="*/ 81 h 92"/>
                  <a:gd name="T36" fmla="*/ 385 w 472"/>
                  <a:gd name="T37" fmla="*/ 75 h 92"/>
                  <a:gd name="T38" fmla="*/ 397 w 472"/>
                  <a:gd name="T39" fmla="*/ 73 h 92"/>
                  <a:gd name="T40" fmla="*/ 411 w 472"/>
                  <a:gd name="T41" fmla="*/ 73 h 92"/>
                  <a:gd name="T42" fmla="*/ 441 w 472"/>
                  <a:gd name="T43" fmla="*/ 76 h 92"/>
                  <a:gd name="T44" fmla="*/ 456 w 472"/>
                  <a:gd name="T45" fmla="*/ 76 h 92"/>
                  <a:gd name="T46" fmla="*/ 472 w 472"/>
                  <a:gd name="T47" fmla="*/ 73 h 92"/>
                  <a:gd name="T48" fmla="*/ 465 w 472"/>
                  <a:gd name="T49" fmla="*/ 33 h 92"/>
                  <a:gd name="T50" fmla="*/ 453 w 472"/>
                  <a:gd name="T51" fmla="*/ 26 h 92"/>
                  <a:gd name="T52" fmla="*/ 443 w 472"/>
                  <a:gd name="T53" fmla="*/ 18 h 92"/>
                  <a:gd name="T54" fmla="*/ 432 w 472"/>
                  <a:gd name="T55" fmla="*/ 13 h 92"/>
                  <a:gd name="T56" fmla="*/ 416 w 472"/>
                  <a:gd name="T57" fmla="*/ 12 h 92"/>
                  <a:gd name="T58" fmla="*/ 396 w 472"/>
                  <a:gd name="T59" fmla="*/ 15 h 92"/>
                  <a:gd name="T60" fmla="*/ 367 w 472"/>
                  <a:gd name="T61" fmla="*/ 22 h 92"/>
                  <a:gd name="T62" fmla="*/ 328 w 472"/>
                  <a:gd name="T63" fmla="*/ 33 h 92"/>
                  <a:gd name="T64" fmla="*/ 298 w 472"/>
                  <a:gd name="T65" fmla="*/ 39 h 92"/>
                  <a:gd name="T66" fmla="*/ 276 w 472"/>
                  <a:gd name="T67" fmla="*/ 42 h 92"/>
                  <a:gd name="T68" fmla="*/ 236 w 472"/>
                  <a:gd name="T69" fmla="*/ 42 h 92"/>
                  <a:gd name="T70" fmla="*/ 191 w 472"/>
                  <a:gd name="T71" fmla="*/ 42 h 92"/>
                  <a:gd name="T72" fmla="*/ 156 w 472"/>
                  <a:gd name="T73" fmla="*/ 42 h 92"/>
                  <a:gd name="T74" fmla="*/ 120 w 472"/>
                  <a:gd name="T75" fmla="*/ 42 h 92"/>
                  <a:gd name="T76" fmla="*/ 91 w 472"/>
                  <a:gd name="T77" fmla="*/ 41 h 92"/>
                  <a:gd name="T78" fmla="*/ 78 w 472"/>
                  <a:gd name="T79" fmla="*/ 36 h 92"/>
                  <a:gd name="T80" fmla="*/ 70 w 472"/>
                  <a:gd name="T81" fmla="*/ 27 h 92"/>
                  <a:gd name="T82" fmla="*/ 67 w 472"/>
                  <a:gd name="T83" fmla="*/ 17 h 92"/>
                  <a:gd name="T84" fmla="*/ 69 w 472"/>
                  <a:gd name="T85" fmla="*/ 8 h 92"/>
                  <a:gd name="T86" fmla="*/ 74 w 472"/>
                  <a:gd name="T87" fmla="*/ 2 h 92"/>
                  <a:gd name="T88" fmla="*/ 74 w 472"/>
                  <a:gd name="T89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37" name="Freeform 431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145 w 326"/>
                  <a:gd name="T1" fmla="*/ 107 h 135"/>
                  <a:gd name="T2" fmla="*/ 203 w 326"/>
                  <a:gd name="T3" fmla="*/ 97 h 135"/>
                  <a:gd name="T4" fmla="*/ 262 w 326"/>
                  <a:gd name="T5" fmla="*/ 84 h 135"/>
                  <a:gd name="T6" fmla="*/ 300 w 326"/>
                  <a:gd name="T7" fmla="*/ 74 h 135"/>
                  <a:gd name="T8" fmla="*/ 318 w 326"/>
                  <a:gd name="T9" fmla="*/ 66 h 135"/>
                  <a:gd name="T10" fmla="*/ 322 w 326"/>
                  <a:gd name="T11" fmla="*/ 56 h 135"/>
                  <a:gd name="T12" fmla="*/ 312 w 326"/>
                  <a:gd name="T13" fmla="*/ 48 h 135"/>
                  <a:gd name="T14" fmla="*/ 300 w 326"/>
                  <a:gd name="T15" fmla="*/ 41 h 135"/>
                  <a:gd name="T16" fmla="*/ 286 w 326"/>
                  <a:gd name="T17" fmla="*/ 37 h 135"/>
                  <a:gd name="T18" fmla="*/ 263 w 326"/>
                  <a:gd name="T19" fmla="*/ 32 h 135"/>
                  <a:gd name="T20" fmla="*/ 230 w 326"/>
                  <a:gd name="T21" fmla="*/ 30 h 135"/>
                  <a:gd name="T22" fmla="*/ 209 w 326"/>
                  <a:gd name="T23" fmla="*/ 30 h 135"/>
                  <a:gd name="T24" fmla="*/ 202 w 326"/>
                  <a:gd name="T25" fmla="*/ 24 h 135"/>
                  <a:gd name="T26" fmla="*/ 196 w 326"/>
                  <a:gd name="T27" fmla="*/ 17 h 135"/>
                  <a:gd name="T28" fmla="*/ 191 w 326"/>
                  <a:gd name="T29" fmla="*/ 9 h 135"/>
                  <a:gd name="T30" fmla="*/ 180 w 326"/>
                  <a:gd name="T31" fmla="*/ 5 h 135"/>
                  <a:gd name="T32" fmla="*/ 162 w 326"/>
                  <a:gd name="T33" fmla="*/ 1 h 135"/>
                  <a:gd name="T34" fmla="*/ 135 w 326"/>
                  <a:gd name="T35" fmla="*/ 1 h 135"/>
                  <a:gd name="T36" fmla="*/ 87 w 326"/>
                  <a:gd name="T37" fmla="*/ 8 h 135"/>
                  <a:gd name="T38" fmla="*/ 49 w 326"/>
                  <a:gd name="T39" fmla="*/ 17 h 135"/>
                  <a:gd name="T40" fmla="*/ 27 w 326"/>
                  <a:gd name="T41" fmla="*/ 26 h 135"/>
                  <a:gd name="T42" fmla="*/ 11 w 326"/>
                  <a:gd name="T43" fmla="*/ 37 h 135"/>
                  <a:gd name="T44" fmla="*/ 3 w 326"/>
                  <a:gd name="T45" fmla="*/ 46 h 135"/>
                  <a:gd name="T46" fmla="*/ 1 w 326"/>
                  <a:gd name="T47" fmla="*/ 52 h 135"/>
                  <a:gd name="T48" fmla="*/ 34 w 326"/>
                  <a:gd name="T49" fmla="*/ 74 h 135"/>
                  <a:gd name="T50" fmla="*/ 56 w 326"/>
                  <a:gd name="T51" fmla="*/ 81 h 135"/>
                  <a:gd name="T52" fmla="*/ 41 w 326"/>
                  <a:gd name="T53" fmla="*/ 90 h 135"/>
                  <a:gd name="T54" fmla="*/ 38 w 326"/>
                  <a:gd name="T55" fmla="*/ 99 h 135"/>
                  <a:gd name="T56" fmla="*/ 44 w 326"/>
                  <a:gd name="T57" fmla="*/ 114 h 135"/>
                  <a:gd name="T58" fmla="*/ 48 w 326"/>
                  <a:gd name="T59" fmla="*/ 128 h 135"/>
                  <a:gd name="T60" fmla="*/ 55 w 326"/>
                  <a:gd name="T61" fmla="*/ 134 h 135"/>
                  <a:gd name="T62" fmla="*/ 69 w 326"/>
                  <a:gd name="T63" fmla="*/ 135 h 135"/>
                  <a:gd name="T64" fmla="*/ 86 w 326"/>
                  <a:gd name="T65" fmla="*/ 131 h 135"/>
                  <a:gd name="T66" fmla="*/ 101 w 326"/>
                  <a:gd name="T67" fmla="*/ 127 h 135"/>
                  <a:gd name="T68" fmla="*/ 117 w 326"/>
                  <a:gd name="T69" fmla="*/ 124 h 135"/>
                  <a:gd name="T70" fmla="*/ 120 w 326"/>
                  <a:gd name="T71" fmla="*/ 111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38" name="Freeform 432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46 w 159"/>
                  <a:gd name="T1" fmla="*/ 53 h 56"/>
                  <a:gd name="T2" fmla="*/ 40 w 159"/>
                  <a:gd name="T3" fmla="*/ 52 h 56"/>
                  <a:gd name="T4" fmla="*/ 34 w 159"/>
                  <a:gd name="T5" fmla="*/ 49 h 56"/>
                  <a:gd name="T6" fmla="*/ 26 w 159"/>
                  <a:gd name="T7" fmla="*/ 45 h 56"/>
                  <a:gd name="T8" fmla="*/ 18 w 159"/>
                  <a:gd name="T9" fmla="*/ 38 h 56"/>
                  <a:gd name="T10" fmla="*/ 10 w 159"/>
                  <a:gd name="T11" fmla="*/ 31 h 56"/>
                  <a:gd name="T12" fmla="*/ 5 w 159"/>
                  <a:gd name="T13" fmla="*/ 24 h 56"/>
                  <a:gd name="T14" fmla="*/ 3 w 159"/>
                  <a:gd name="T15" fmla="*/ 21 h 56"/>
                  <a:gd name="T16" fmla="*/ 1 w 159"/>
                  <a:gd name="T17" fmla="*/ 17 h 56"/>
                  <a:gd name="T18" fmla="*/ 0 w 159"/>
                  <a:gd name="T19" fmla="*/ 13 h 56"/>
                  <a:gd name="T20" fmla="*/ 0 w 159"/>
                  <a:gd name="T21" fmla="*/ 10 h 56"/>
                  <a:gd name="T22" fmla="*/ 21 w 159"/>
                  <a:gd name="T23" fmla="*/ 10 h 56"/>
                  <a:gd name="T24" fmla="*/ 39 w 159"/>
                  <a:gd name="T25" fmla="*/ 10 h 56"/>
                  <a:gd name="T26" fmla="*/ 52 w 159"/>
                  <a:gd name="T27" fmla="*/ 10 h 56"/>
                  <a:gd name="T28" fmla="*/ 59 w 159"/>
                  <a:gd name="T29" fmla="*/ 10 h 56"/>
                  <a:gd name="T30" fmla="*/ 83 w 159"/>
                  <a:gd name="T31" fmla="*/ 6 h 56"/>
                  <a:gd name="T32" fmla="*/ 117 w 159"/>
                  <a:gd name="T33" fmla="*/ 0 h 56"/>
                  <a:gd name="T34" fmla="*/ 125 w 159"/>
                  <a:gd name="T35" fmla="*/ 0 h 56"/>
                  <a:gd name="T36" fmla="*/ 132 w 159"/>
                  <a:gd name="T37" fmla="*/ 0 h 56"/>
                  <a:gd name="T38" fmla="*/ 140 w 159"/>
                  <a:gd name="T39" fmla="*/ 0 h 56"/>
                  <a:gd name="T40" fmla="*/ 147 w 159"/>
                  <a:gd name="T41" fmla="*/ 2 h 56"/>
                  <a:gd name="T42" fmla="*/ 151 w 159"/>
                  <a:gd name="T43" fmla="*/ 5 h 56"/>
                  <a:gd name="T44" fmla="*/ 155 w 159"/>
                  <a:gd name="T45" fmla="*/ 9 h 56"/>
                  <a:gd name="T46" fmla="*/ 158 w 159"/>
                  <a:gd name="T47" fmla="*/ 15 h 56"/>
                  <a:gd name="T48" fmla="*/ 159 w 159"/>
                  <a:gd name="T49" fmla="*/ 22 h 56"/>
                  <a:gd name="T50" fmla="*/ 158 w 159"/>
                  <a:gd name="T51" fmla="*/ 30 h 56"/>
                  <a:gd name="T52" fmla="*/ 155 w 159"/>
                  <a:gd name="T53" fmla="*/ 37 h 56"/>
                  <a:gd name="T54" fmla="*/ 151 w 159"/>
                  <a:gd name="T55" fmla="*/ 44 h 56"/>
                  <a:gd name="T56" fmla="*/ 146 w 159"/>
                  <a:gd name="T57" fmla="*/ 48 h 56"/>
                  <a:gd name="T58" fmla="*/ 139 w 159"/>
                  <a:gd name="T59" fmla="*/ 52 h 56"/>
                  <a:gd name="T60" fmla="*/ 132 w 159"/>
                  <a:gd name="T61" fmla="*/ 54 h 56"/>
                  <a:gd name="T62" fmla="*/ 124 w 159"/>
                  <a:gd name="T63" fmla="*/ 55 h 56"/>
                  <a:gd name="T64" fmla="*/ 115 w 159"/>
                  <a:gd name="T65" fmla="*/ 56 h 56"/>
                  <a:gd name="T66" fmla="*/ 77 w 159"/>
                  <a:gd name="T67" fmla="*/ 55 h 56"/>
                  <a:gd name="T68" fmla="*/ 46 w 159"/>
                  <a:gd name="T69" fmla="*/ 53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39" name="Freeform 433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2931 w 3734"/>
                  <a:gd name="T1" fmla="*/ 1362 h 1644"/>
                  <a:gd name="T2" fmla="*/ 2556 w 3734"/>
                  <a:gd name="T3" fmla="*/ 1522 h 1644"/>
                  <a:gd name="T4" fmla="*/ 2312 w 3734"/>
                  <a:gd name="T5" fmla="*/ 1592 h 1644"/>
                  <a:gd name="T6" fmla="*/ 2294 w 3734"/>
                  <a:gd name="T7" fmla="*/ 1634 h 1644"/>
                  <a:gd name="T8" fmla="*/ 2177 w 3734"/>
                  <a:gd name="T9" fmla="*/ 1607 h 1644"/>
                  <a:gd name="T10" fmla="*/ 2279 w 3734"/>
                  <a:gd name="T11" fmla="*/ 1512 h 1644"/>
                  <a:gd name="T12" fmla="*/ 2166 w 3734"/>
                  <a:gd name="T13" fmla="*/ 1416 h 1644"/>
                  <a:gd name="T14" fmla="*/ 2094 w 3734"/>
                  <a:gd name="T15" fmla="*/ 1295 h 1644"/>
                  <a:gd name="T16" fmla="*/ 1947 w 3734"/>
                  <a:gd name="T17" fmla="*/ 1317 h 1644"/>
                  <a:gd name="T18" fmla="*/ 1771 w 3734"/>
                  <a:gd name="T19" fmla="*/ 1281 h 1644"/>
                  <a:gd name="T20" fmla="*/ 261 w 3734"/>
                  <a:gd name="T21" fmla="*/ 1235 h 1644"/>
                  <a:gd name="T22" fmla="*/ 127 w 3734"/>
                  <a:gd name="T23" fmla="*/ 1125 h 1644"/>
                  <a:gd name="T24" fmla="*/ 151 w 3734"/>
                  <a:gd name="T25" fmla="*/ 1040 h 1644"/>
                  <a:gd name="T26" fmla="*/ 147 w 3734"/>
                  <a:gd name="T27" fmla="*/ 927 h 1644"/>
                  <a:gd name="T28" fmla="*/ 259 w 3734"/>
                  <a:gd name="T29" fmla="*/ 859 h 1644"/>
                  <a:gd name="T30" fmla="*/ 250 w 3734"/>
                  <a:gd name="T31" fmla="*/ 747 h 1644"/>
                  <a:gd name="T32" fmla="*/ 128 w 3734"/>
                  <a:gd name="T33" fmla="*/ 665 h 1644"/>
                  <a:gd name="T34" fmla="*/ 602 w 3734"/>
                  <a:gd name="T35" fmla="*/ 114 h 1644"/>
                  <a:gd name="T36" fmla="*/ 1146 w 3734"/>
                  <a:gd name="T37" fmla="*/ 105 h 1644"/>
                  <a:gd name="T38" fmla="*/ 1296 w 3734"/>
                  <a:gd name="T39" fmla="*/ 117 h 1644"/>
                  <a:gd name="T40" fmla="*/ 1641 w 3734"/>
                  <a:gd name="T41" fmla="*/ 166 h 1644"/>
                  <a:gd name="T42" fmla="*/ 1771 w 3734"/>
                  <a:gd name="T43" fmla="*/ 206 h 1644"/>
                  <a:gd name="T44" fmla="*/ 2076 w 3734"/>
                  <a:gd name="T45" fmla="*/ 193 h 1644"/>
                  <a:gd name="T46" fmla="*/ 2286 w 3734"/>
                  <a:gd name="T47" fmla="*/ 216 h 1644"/>
                  <a:gd name="T48" fmla="*/ 2365 w 3734"/>
                  <a:gd name="T49" fmla="*/ 216 h 1644"/>
                  <a:gd name="T50" fmla="*/ 2518 w 3734"/>
                  <a:gd name="T51" fmla="*/ 123 h 1644"/>
                  <a:gd name="T52" fmla="*/ 2587 w 3734"/>
                  <a:gd name="T53" fmla="*/ 2 h 1644"/>
                  <a:gd name="T54" fmla="*/ 2644 w 3734"/>
                  <a:gd name="T55" fmla="*/ 105 h 1644"/>
                  <a:gd name="T56" fmla="*/ 2664 w 3734"/>
                  <a:gd name="T57" fmla="*/ 166 h 1644"/>
                  <a:gd name="T58" fmla="*/ 2716 w 3734"/>
                  <a:gd name="T59" fmla="*/ 196 h 1644"/>
                  <a:gd name="T60" fmla="*/ 2891 w 3734"/>
                  <a:gd name="T61" fmla="*/ 121 h 1644"/>
                  <a:gd name="T62" fmla="*/ 3036 w 3734"/>
                  <a:gd name="T63" fmla="*/ 135 h 1644"/>
                  <a:gd name="T64" fmla="*/ 2883 w 3734"/>
                  <a:gd name="T65" fmla="*/ 271 h 1644"/>
                  <a:gd name="T66" fmla="*/ 2790 w 3734"/>
                  <a:gd name="T67" fmla="*/ 289 h 1644"/>
                  <a:gd name="T68" fmla="*/ 2569 w 3734"/>
                  <a:gd name="T69" fmla="*/ 304 h 1644"/>
                  <a:gd name="T70" fmla="*/ 2501 w 3734"/>
                  <a:gd name="T71" fmla="*/ 402 h 1644"/>
                  <a:gd name="T72" fmla="*/ 2333 w 3734"/>
                  <a:gd name="T73" fmla="*/ 471 h 1644"/>
                  <a:gd name="T74" fmla="*/ 2087 w 3734"/>
                  <a:gd name="T75" fmla="*/ 625 h 1644"/>
                  <a:gd name="T76" fmla="*/ 2106 w 3734"/>
                  <a:gd name="T77" fmla="*/ 793 h 1644"/>
                  <a:gd name="T78" fmla="*/ 2360 w 3734"/>
                  <a:gd name="T79" fmla="*/ 907 h 1644"/>
                  <a:gd name="T80" fmla="*/ 2443 w 3734"/>
                  <a:gd name="T81" fmla="*/ 1059 h 1644"/>
                  <a:gd name="T82" fmla="*/ 2614 w 3734"/>
                  <a:gd name="T83" fmla="*/ 987 h 1644"/>
                  <a:gd name="T84" fmla="*/ 2848 w 3734"/>
                  <a:gd name="T85" fmla="*/ 785 h 1644"/>
                  <a:gd name="T86" fmla="*/ 2896 w 3734"/>
                  <a:gd name="T87" fmla="*/ 597 h 1644"/>
                  <a:gd name="T88" fmla="*/ 3156 w 3734"/>
                  <a:gd name="T89" fmla="*/ 500 h 1644"/>
                  <a:gd name="T90" fmla="*/ 3276 w 3734"/>
                  <a:gd name="T91" fmla="*/ 592 h 1644"/>
                  <a:gd name="T92" fmla="*/ 3226 w 3734"/>
                  <a:gd name="T93" fmla="*/ 736 h 1644"/>
                  <a:gd name="T94" fmla="*/ 3492 w 3734"/>
                  <a:gd name="T95" fmla="*/ 613 h 1644"/>
                  <a:gd name="T96" fmla="*/ 3545 w 3734"/>
                  <a:gd name="T97" fmla="*/ 774 h 1644"/>
                  <a:gd name="T98" fmla="*/ 3662 w 3734"/>
                  <a:gd name="T99" fmla="*/ 924 h 1644"/>
                  <a:gd name="T100" fmla="*/ 3616 w 3734"/>
                  <a:gd name="T101" fmla="*/ 961 h 1644"/>
                  <a:gd name="T102" fmla="*/ 3694 w 3734"/>
                  <a:gd name="T103" fmla="*/ 1028 h 1644"/>
                  <a:gd name="T104" fmla="*/ 3556 w 3734"/>
                  <a:gd name="T105" fmla="*/ 1108 h 1644"/>
                  <a:gd name="T106" fmla="*/ 3151 w 3734"/>
                  <a:gd name="T107" fmla="*/ 1168 h 1644"/>
                  <a:gd name="T108" fmla="*/ 2853 w 3734"/>
                  <a:gd name="T109" fmla="*/ 1335 h 1644"/>
                  <a:gd name="T110" fmla="*/ 2905 w 3734"/>
                  <a:gd name="T111" fmla="*/ 1337 h 1644"/>
                  <a:gd name="T112" fmla="*/ 3216 w 3734"/>
                  <a:gd name="T113" fmla="*/ 1256 h 1644"/>
                  <a:gd name="T114" fmla="*/ 3066 w 3734"/>
                  <a:gd name="T115" fmla="*/ 1298 h 1644"/>
                  <a:gd name="T116" fmla="*/ 3138 w 3734"/>
                  <a:gd name="T117" fmla="*/ 1391 h 1644"/>
                  <a:gd name="T118" fmla="*/ 3248 w 3734"/>
                  <a:gd name="T119" fmla="*/ 1473 h 1644"/>
                  <a:gd name="T120" fmla="*/ 3018 w 3734"/>
                  <a:gd name="T121" fmla="*/ 1564 h 1644"/>
                  <a:gd name="T122" fmla="*/ 3189 w 3734"/>
                  <a:gd name="T123" fmla="*/ 1466 h 1644"/>
                  <a:gd name="T124" fmla="*/ 3016 w 3734"/>
                  <a:gd name="T125" fmla="*/ 1484 h 1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 dirty="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</p:grpSp>
        <p:sp>
          <p:nvSpPr>
            <p:cNvPr id="277" name="Freeform 434"/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4757738" y="3541713"/>
              <a:ext cx="127000" cy="158750"/>
            </a:xfrm>
            <a:custGeom>
              <a:avLst/>
              <a:gdLst>
                <a:gd name="T0" fmla="*/ 265 w 292"/>
                <a:gd name="T1" fmla="*/ 10 h 308"/>
                <a:gd name="T2" fmla="*/ 276 w 292"/>
                <a:gd name="T3" fmla="*/ 37 h 308"/>
                <a:gd name="T4" fmla="*/ 286 w 292"/>
                <a:gd name="T5" fmla="*/ 91 h 308"/>
                <a:gd name="T6" fmla="*/ 292 w 292"/>
                <a:gd name="T7" fmla="*/ 144 h 308"/>
                <a:gd name="T8" fmla="*/ 291 w 292"/>
                <a:gd name="T9" fmla="*/ 161 h 308"/>
                <a:gd name="T10" fmla="*/ 286 w 292"/>
                <a:gd name="T11" fmla="*/ 179 h 308"/>
                <a:gd name="T12" fmla="*/ 269 w 292"/>
                <a:gd name="T13" fmla="*/ 206 h 308"/>
                <a:gd name="T14" fmla="*/ 231 w 292"/>
                <a:gd name="T15" fmla="*/ 185 h 308"/>
                <a:gd name="T16" fmla="*/ 165 w 292"/>
                <a:gd name="T17" fmla="*/ 258 h 308"/>
                <a:gd name="T18" fmla="*/ 132 w 292"/>
                <a:gd name="T19" fmla="*/ 278 h 308"/>
                <a:gd name="T20" fmla="*/ 59 w 292"/>
                <a:gd name="T21" fmla="*/ 296 h 308"/>
                <a:gd name="T22" fmla="*/ 32 w 292"/>
                <a:gd name="T23" fmla="*/ 308 h 308"/>
                <a:gd name="T24" fmla="*/ 6 w 292"/>
                <a:gd name="T25" fmla="*/ 308 h 308"/>
                <a:gd name="T26" fmla="*/ 9 w 292"/>
                <a:gd name="T27" fmla="*/ 297 h 308"/>
                <a:gd name="T28" fmla="*/ 11 w 292"/>
                <a:gd name="T29" fmla="*/ 286 h 308"/>
                <a:gd name="T30" fmla="*/ 7 w 292"/>
                <a:gd name="T31" fmla="*/ 265 h 308"/>
                <a:gd name="T32" fmla="*/ 2 w 292"/>
                <a:gd name="T33" fmla="*/ 246 h 308"/>
                <a:gd name="T34" fmla="*/ 0 w 292"/>
                <a:gd name="T35" fmla="*/ 228 h 308"/>
                <a:gd name="T36" fmla="*/ 3 w 292"/>
                <a:gd name="T37" fmla="*/ 205 h 308"/>
                <a:gd name="T38" fmla="*/ 12 w 292"/>
                <a:gd name="T39" fmla="*/ 188 h 308"/>
                <a:gd name="T40" fmla="*/ 26 w 292"/>
                <a:gd name="T41" fmla="*/ 174 h 308"/>
                <a:gd name="T42" fmla="*/ 42 w 292"/>
                <a:gd name="T43" fmla="*/ 161 h 308"/>
                <a:gd name="T44" fmla="*/ 77 w 292"/>
                <a:gd name="T45" fmla="*/ 135 h 308"/>
                <a:gd name="T46" fmla="*/ 93 w 292"/>
                <a:gd name="T47" fmla="*/ 119 h 308"/>
                <a:gd name="T48" fmla="*/ 105 w 292"/>
                <a:gd name="T49" fmla="*/ 98 h 308"/>
                <a:gd name="T50" fmla="*/ 98 w 292"/>
                <a:gd name="T51" fmla="*/ 96 h 308"/>
                <a:gd name="T52" fmla="*/ 92 w 292"/>
                <a:gd name="T53" fmla="*/ 91 h 308"/>
                <a:gd name="T54" fmla="*/ 82 w 292"/>
                <a:gd name="T55" fmla="*/ 73 h 308"/>
                <a:gd name="T56" fmla="*/ 74 w 292"/>
                <a:gd name="T57" fmla="*/ 50 h 308"/>
                <a:gd name="T58" fmla="*/ 72 w 292"/>
                <a:gd name="T59" fmla="*/ 24 h 308"/>
                <a:gd name="T60" fmla="*/ 90 w 292"/>
                <a:gd name="T61" fmla="*/ 19 h 308"/>
                <a:gd name="T62" fmla="*/ 105 w 292"/>
                <a:gd name="T63" fmla="*/ 20 h 308"/>
                <a:gd name="T64" fmla="*/ 132 w 292"/>
                <a:gd name="T65" fmla="*/ 24 h 308"/>
                <a:gd name="T66" fmla="*/ 169 w 292"/>
                <a:gd name="T67" fmla="*/ 21 h 308"/>
                <a:gd name="T68" fmla="*/ 210 w 292"/>
                <a:gd name="T69" fmla="*/ 12 h 308"/>
                <a:gd name="T70" fmla="*/ 259 w 292"/>
                <a:gd name="T71" fmla="*/ 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78" name="Freeform 435"/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4864100" y="3692525"/>
              <a:ext cx="6350" cy="57150"/>
            </a:xfrm>
            <a:custGeom>
              <a:avLst/>
              <a:gdLst>
                <a:gd name="T0" fmla="*/ 11 w 14"/>
                <a:gd name="T1" fmla="*/ 0 h 7"/>
                <a:gd name="T2" fmla="*/ 13 w 14"/>
                <a:gd name="T3" fmla="*/ 3 h 7"/>
                <a:gd name="T4" fmla="*/ 14 w 14"/>
                <a:gd name="T5" fmla="*/ 7 h 7"/>
                <a:gd name="T6" fmla="*/ 0 w 14"/>
                <a:gd name="T7" fmla="*/ 7 h 7"/>
                <a:gd name="T8" fmla="*/ 11 w 14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79" name="Freeform 436"/>
            <p:cNvSpPr>
              <a:spLocks/>
            </p:cNvSpPr>
            <p:nvPr>
              <p:custDataLst>
                <p:tags r:id="rId273"/>
              </p:custDataLst>
            </p:nvPr>
          </p:nvSpPr>
          <p:spPr bwMode="auto">
            <a:xfrm>
              <a:off x="4354513" y="2928938"/>
              <a:ext cx="249237" cy="500062"/>
            </a:xfrm>
            <a:custGeom>
              <a:avLst/>
              <a:gdLst>
                <a:gd name="T0" fmla="*/ 81 w 581"/>
                <a:gd name="T1" fmla="*/ 115 h 955"/>
                <a:gd name="T2" fmla="*/ 104 w 581"/>
                <a:gd name="T3" fmla="*/ 152 h 955"/>
                <a:gd name="T4" fmla="*/ 111 w 581"/>
                <a:gd name="T5" fmla="*/ 180 h 955"/>
                <a:gd name="T6" fmla="*/ 95 w 581"/>
                <a:gd name="T7" fmla="*/ 234 h 955"/>
                <a:gd name="T8" fmla="*/ 96 w 581"/>
                <a:gd name="T9" fmla="*/ 325 h 955"/>
                <a:gd name="T10" fmla="*/ 93 w 581"/>
                <a:gd name="T11" fmla="*/ 363 h 955"/>
                <a:gd name="T12" fmla="*/ 82 w 581"/>
                <a:gd name="T13" fmla="*/ 396 h 955"/>
                <a:gd name="T14" fmla="*/ 59 w 581"/>
                <a:gd name="T15" fmla="*/ 429 h 955"/>
                <a:gd name="T16" fmla="*/ 31 w 581"/>
                <a:gd name="T17" fmla="*/ 461 h 955"/>
                <a:gd name="T18" fmla="*/ 17 w 581"/>
                <a:gd name="T19" fmla="*/ 481 h 955"/>
                <a:gd name="T20" fmla="*/ 2 w 581"/>
                <a:gd name="T21" fmla="*/ 542 h 955"/>
                <a:gd name="T22" fmla="*/ 69 w 581"/>
                <a:gd name="T23" fmla="*/ 616 h 955"/>
                <a:gd name="T24" fmla="*/ 69 w 581"/>
                <a:gd name="T25" fmla="*/ 634 h 955"/>
                <a:gd name="T26" fmla="*/ 74 w 581"/>
                <a:gd name="T27" fmla="*/ 665 h 955"/>
                <a:gd name="T28" fmla="*/ 74 w 581"/>
                <a:gd name="T29" fmla="*/ 696 h 955"/>
                <a:gd name="T30" fmla="*/ 78 w 581"/>
                <a:gd name="T31" fmla="*/ 733 h 955"/>
                <a:gd name="T32" fmla="*/ 94 w 581"/>
                <a:gd name="T33" fmla="*/ 778 h 955"/>
                <a:gd name="T34" fmla="*/ 105 w 581"/>
                <a:gd name="T35" fmla="*/ 792 h 955"/>
                <a:gd name="T36" fmla="*/ 68 w 581"/>
                <a:gd name="T37" fmla="*/ 794 h 955"/>
                <a:gd name="T38" fmla="*/ 42 w 581"/>
                <a:gd name="T39" fmla="*/ 802 h 955"/>
                <a:gd name="T40" fmla="*/ 36 w 581"/>
                <a:gd name="T41" fmla="*/ 812 h 955"/>
                <a:gd name="T42" fmla="*/ 42 w 581"/>
                <a:gd name="T43" fmla="*/ 842 h 955"/>
                <a:gd name="T44" fmla="*/ 69 w 581"/>
                <a:gd name="T45" fmla="*/ 876 h 955"/>
                <a:gd name="T46" fmla="*/ 87 w 581"/>
                <a:gd name="T47" fmla="*/ 899 h 955"/>
                <a:gd name="T48" fmla="*/ 100 w 581"/>
                <a:gd name="T49" fmla="*/ 927 h 955"/>
                <a:gd name="T50" fmla="*/ 156 w 581"/>
                <a:gd name="T51" fmla="*/ 955 h 955"/>
                <a:gd name="T52" fmla="*/ 189 w 581"/>
                <a:gd name="T53" fmla="*/ 942 h 955"/>
                <a:gd name="T54" fmla="*/ 248 w 581"/>
                <a:gd name="T55" fmla="*/ 929 h 955"/>
                <a:gd name="T56" fmla="*/ 279 w 581"/>
                <a:gd name="T57" fmla="*/ 921 h 955"/>
                <a:gd name="T58" fmla="*/ 297 w 581"/>
                <a:gd name="T59" fmla="*/ 904 h 955"/>
                <a:gd name="T60" fmla="*/ 302 w 581"/>
                <a:gd name="T61" fmla="*/ 892 h 955"/>
                <a:gd name="T62" fmla="*/ 302 w 581"/>
                <a:gd name="T63" fmla="*/ 868 h 955"/>
                <a:gd name="T64" fmla="*/ 338 w 581"/>
                <a:gd name="T65" fmla="*/ 871 h 955"/>
                <a:gd name="T66" fmla="*/ 367 w 581"/>
                <a:gd name="T67" fmla="*/ 866 h 955"/>
                <a:gd name="T68" fmla="*/ 389 w 581"/>
                <a:gd name="T69" fmla="*/ 856 h 955"/>
                <a:gd name="T70" fmla="*/ 405 w 581"/>
                <a:gd name="T71" fmla="*/ 842 h 955"/>
                <a:gd name="T72" fmla="*/ 432 w 581"/>
                <a:gd name="T73" fmla="*/ 807 h 955"/>
                <a:gd name="T74" fmla="*/ 460 w 581"/>
                <a:gd name="T75" fmla="*/ 773 h 955"/>
                <a:gd name="T76" fmla="*/ 477 w 581"/>
                <a:gd name="T77" fmla="*/ 760 h 955"/>
                <a:gd name="T78" fmla="*/ 502 w 581"/>
                <a:gd name="T79" fmla="*/ 752 h 955"/>
                <a:gd name="T80" fmla="*/ 521 w 581"/>
                <a:gd name="T81" fmla="*/ 745 h 955"/>
                <a:gd name="T82" fmla="*/ 499 w 581"/>
                <a:gd name="T83" fmla="*/ 697 h 955"/>
                <a:gd name="T84" fmla="*/ 484 w 581"/>
                <a:gd name="T85" fmla="*/ 653 h 955"/>
                <a:gd name="T86" fmla="*/ 472 w 581"/>
                <a:gd name="T87" fmla="*/ 623 h 955"/>
                <a:gd name="T88" fmla="*/ 481 w 581"/>
                <a:gd name="T89" fmla="*/ 610 h 955"/>
                <a:gd name="T90" fmla="*/ 487 w 581"/>
                <a:gd name="T91" fmla="*/ 579 h 955"/>
                <a:gd name="T92" fmla="*/ 494 w 581"/>
                <a:gd name="T93" fmla="*/ 541 h 955"/>
                <a:gd name="T94" fmla="*/ 505 w 581"/>
                <a:gd name="T95" fmla="*/ 519 h 955"/>
                <a:gd name="T96" fmla="*/ 532 w 581"/>
                <a:gd name="T97" fmla="*/ 486 h 955"/>
                <a:gd name="T98" fmla="*/ 570 w 581"/>
                <a:gd name="T99" fmla="*/ 461 h 955"/>
                <a:gd name="T100" fmla="*/ 129 w 581"/>
                <a:gd name="T101" fmla="*/ 0 h 955"/>
                <a:gd name="T102" fmla="*/ 98 w 581"/>
                <a:gd name="T103" fmla="*/ 5 h 955"/>
                <a:gd name="T104" fmla="*/ 69 w 581"/>
                <a:gd name="T105" fmla="*/ 24 h 9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80" name="Freeform 437"/>
            <p:cNvSpPr>
              <a:spLocks/>
            </p:cNvSpPr>
            <p:nvPr>
              <p:custDataLst>
                <p:tags r:id="rId274"/>
              </p:custDataLst>
            </p:nvPr>
          </p:nvSpPr>
          <p:spPr bwMode="auto">
            <a:xfrm>
              <a:off x="4030663" y="2311400"/>
              <a:ext cx="15875" cy="57150"/>
            </a:xfrm>
            <a:custGeom>
              <a:avLst/>
              <a:gdLst>
                <a:gd name="T0" fmla="*/ 26 w 45"/>
                <a:gd name="T1" fmla="*/ 0 h 36"/>
                <a:gd name="T2" fmla="*/ 0 w 45"/>
                <a:gd name="T3" fmla="*/ 18 h 36"/>
                <a:gd name="T4" fmla="*/ 23 w 45"/>
                <a:gd name="T5" fmla="*/ 36 h 36"/>
                <a:gd name="T6" fmla="*/ 45 w 45"/>
                <a:gd name="T7" fmla="*/ 15 h 36"/>
                <a:gd name="T8" fmla="*/ 26 w 45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grpSp>
          <p:nvGrpSpPr>
            <p:cNvPr id="281" name="Group 438"/>
            <p:cNvGrpSpPr>
              <a:grpSpLocks/>
            </p:cNvGrpSpPr>
            <p:nvPr>
              <p:custDataLst>
                <p:tags r:id="rId275"/>
              </p:custDataLst>
            </p:nvPr>
          </p:nvGrpSpPr>
          <p:grpSpPr bwMode="auto">
            <a:xfrm>
              <a:off x="2330450" y="4371975"/>
              <a:ext cx="384175" cy="1031875"/>
              <a:chOff x="1589" y="3126"/>
              <a:chExt cx="290" cy="657"/>
            </a:xfrm>
            <a:solidFill>
              <a:schemeClr val="accent2"/>
            </a:solidFill>
          </p:grpSpPr>
          <p:sp>
            <p:nvSpPr>
              <p:cNvPr id="395" name="Freeform 439"/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46 w 46"/>
                  <a:gd name="T1" fmla="*/ 12 h 51"/>
                  <a:gd name="T2" fmla="*/ 19 w 46"/>
                  <a:gd name="T3" fmla="*/ 0 h 51"/>
                  <a:gd name="T4" fmla="*/ 13 w 46"/>
                  <a:gd name="T5" fmla="*/ 5 h 51"/>
                  <a:gd name="T6" fmla="*/ 7 w 46"/>
                  <a:gd name="T7" fmla="*/ 9 h 51"/>
                  <a:gd name="T8" fmla="*/ 4 w 46"/>
                  <a:gd name="T9" fmla="*/ 12 h 51"/>
                  <a:gd name="T10" fmla="*/ 2 w 46"/>
                  <a:gd name="T11" fmla="*/ 14 h 51"/>
                  <a:gd name="T12" fmla="*/ 0 w 46"/>
                  <a:gd name="T13" fmla="*/ 16 h 51"/>
                  <a:gd name="T14" fmla="*/ 0 w 46"/>
                  <a:gd name="T15" fmla="*/ 19 h 51"/>
                  <a:gd name="T16" fmla="*/ 0 w 46"/>
                  <a:gd name="T17" fmla="*/ 24 h 51"/>
                  <a:gd name="T18" fmla="*/ 2 w 46"/>
                  <a:gd name="T19" fmla="*/ 29 h 51"/>
                  <a:gd name="T20" fmla="*/ 4 w 46"/>
                  <a:gd name="T21" fmla="*/ 36 h 51"/>
                  <a:gd name="T22" fmla="*/ 7 w 46"/>
                  <a:gd name="T23" fmla="*/ 41 h 51"/>
                  <a:gd name="T24" fmla="*/ 10 w 46"/>
                  <a:gd name="T25" fmla="*/ 46 h 51"/>
                  <a:gd name="T26" fmla="*/ 13 w 46"/>
                  <a:gd name="T27" fmla="*/ 49 h 51"/>
                  <a:gd name="T28" fmla="*/ 15 w 46"/>
                  <a:gd name="T29" fmla="*/ 50 h 51"/>
                  <a:gd name="T30" fmla="*/ 16 w 46"/>
                  <a:gd name="T31" fmla="*/ 51 h 51"/>
                  <a:gd name="T32" fmla="*/ 18 w 46"/>
                  <a:gd name="T33" fmla="*/ 51 h 51"/>
                  <a:gd name="T34" fmla="*/ 19 w 46"/>
                  <a:gd name="T35" fmla="*/ 50 h 51"/>
                  <a:gd name="T36" fmla="*/ 35 w 46"/>
                  <a:gd name="T37" fmla="*/ 50 h 51"/>
                  <a:gd name="T38" fmla="*/ 46 w 46"/>
                  <a:gd name="T39" fmla="*/ 50 h 51"/>
                  <a:gd name="T40" fmla="*/ 46 w 46"/>
                  <a:gd name="T41" fmla="*/ 37 h 51"/>
                  <a:gd name="T42" fmla="*/ 46 w 46"/>
                  <a:gd name="T43" fmla="*/ 26 h 51"/>
                  <a:gd name="T44" fmla="*/ 46 w 46"/>
                  <a:gd name="T45" fmla="*/ 18 h 51"/>
                  <a:gd name="T46" fmla="*/ 46 w 46"/>
                  <a:gd name="T47" fmla="*/ 1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396" name="Freeform 440"/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14 h 158"/>
                  <a:gd name="T4" fmla="*/ 2 w 192"/>
                  <a:gd name="T5" fmla="*/ 26 h 158"/>
                  <a:gd name="T6" fmla="*/ 4 w 192"/>
                  <a:gd name="T7" fmla="*/ 38 h 158"/>
                  <a:gd name="T8" fmla="*/ 7 w 192"/>
                  <a:gd name="T9" fmla="*/ 50 h 158"/>
                  <a:gd name="T10" fmla="*/ 11 w 192"/>
                  <a:gd name="T11" fmla="*/ 61 h 158"/>
                  <a:gd name="T12" fmla="*/ 15 w 192"/>
                  <a:gd name="T13" fmla="*/ 71 h 158"/>
                  <a:gd name="T14" fmla="*/ 21 w 192"/>
                  <a:gd name="T15" fmla="*/ 81 h 158"/>
                  <a:gd name="T16" fmla="*/ 25 w 192"/>
                  <a:gd name="T17" fmla="*/ 90 h 158"/>
                  <a:gd name="T18" fmla="*/ 47 w 192"/>
                  <a:gd name="T19" fmla="*/ 122 h 158"/>
                  <a:gd name="T20" fmla="*/ 66 w 192"/>
                  <a:gd name="T21" fmla="*/ 148 h 158"/>
                  <a:gd name="T22" fmla="*/ 72 w 192"/>
                  <a:gd name="T23" fmla="*/ 151 h 158"/>
                  <a:gd name="T24" fmla="*/ 79 w 192"/>
                  <a:gd name="T25" fmla="*/ 153 h 158"/>
                  <a:gd name="T26" fmla="*/ 85 w 192"/>
                  <a:gd name="T27" fmla="*/ 155 h 158"/>
                  <a:gd name="T28" fmla="*/ 92 w 192"/>
                  <a:gd name="T29" fmla="*/ 156 h 158"/>
                  <a:gd name="T30" fmla="*/ 105 w 192"/>
                  <a:gd name="T31" fmla="*/ 158 h 158"/>
                  <a:gd name="T32" fmla="*/ 119 w 192"/>
                  <a:gd name="T33" fmla="*/ 158 h 158"/>
                  <a:gd name="T34" fmla="*/ 152 w 192"/>
                  <a:gd name="T35" fmla="*/ 155 h 158"/>
                  <a:gd name="T36" fmla="*/ 192 w 192"/>
                  <a:gd name="T37" fmla="*/ 154 h 158"/>
                  <a:gd name="T38" fmla="*/ 184 w 192"/>
                  <a:gd name="T39" fmla="*/ 153 h 158"/>
                  <a:gd name="T40" fmla="*/ 176 w 192"/>
                  <a:gd name="T41" fmla="*/ 152 h 158"/>
                  <a:gd name="T42" fmla="*/ 168 w 192"/>
                  <a:gd name="T43" fmla="*/ 151 h 158"/>
                  <a:gd name="T44" fmla="*/ 160 w 192"/>
                  <a:gd name="T45" fmla="*/ 149 h 158"/>
                  <a:gd name="T46" fmla="*/ 145 w 192"/>
                  <a:gd name="T47" fmla="*/ 144 h 158"/>
                  <a:gd name="T48" fmla="*/ 129 w 192"/>
                  <a:gd name="T49" fmla="*/ 138 h 158"/>
                  <a:gd name="T50" fmla="*/ 115 w 192"/>
                  <a:gd name="T51" fmla="*/ 130 h 158"/>
                  <a:gd name="T52" fmla="*/ 101 w 192"/>
                  <a:gd name="T53" fmla="*/ 120 h 158"/>
                  <a:gd name="T54" fmla="*/ 87 w 192"/>
                  <a:gd name="T55" fmla="*/ 110 h 158"/>
                  <a:gd name="T56" fmla="*/ 75 w 192"/>
                  <a:gd name="T57" fmla="*/ 98 h 158"/>
                  <a:gd name="T58" fmla="*/ 63 w 192"/>
                  <a:gd name="T59" fmla="*/ 87 h 158"/>
                  <a:gd name="T60" fmla="*/ 52 w 192"/>
                  <a:gd name="T61" fmla="*/ 75 h 158"/>
                  <a:gd name="T62" fmla="*/ 42 w 192"/>
                  <a:gd name="T63" fmla="*/ 63 h 158"/>
                  <a:gd name="T64" fmla="*/ 35 w 192"/>
                  <a:gd name="T65" fmla="*/ 50 h 158"/>
                  <a:gd name="T66" fmla="*/ 27 w 192"/>
                  <a:gd name="T67" fmla="*/ 38 h 158"/>
                  <a:gd name="T68" fmla="*/ 21 w 192"/>
                  <a:gd name="T69" fmla="*/ 26 h 158"/>
                  <a:gd name="T70" fmla="*/ 16 w 192"/>
                  <a:gd name="T71" fmla="*/ 16 h 158"/>
                  <a:gd name="T72" fmla="*/ 13 w 192"/>
                  <a:gd name="T73" fmla="*/ 6 h 158"/>
                  <a:gd name="T74" fmla="*/ 0 w 192"/>
                  <a:gd name="T75" fmla="*/ 0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397" name="Freeform 441"/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772 w 884"/>
                  <a:gd name="T1" fmla="*/ 415 h 1818"/>
                  <a:gd name="T2" fmla="*/ 873 w 884"/>
                  <a:gd name="T3" fmla="*/ 342 h 1818"/>
                  <a:gd name="T4" fmla="*/ 884 w 884"/>
                  <a:gd name="T5" fmla="*/ 232 h 1818"/>
                  <a:gd name="T6" fmla="*/ 840 w 884"/>
                  <a:gd name="T7" fmla="*/ 192 h 1818"/>
                  <a:gd name="T8" fmla="*/ 841 w 884"/>
                  <a:gd name="T9" fmla="*/ 262 h 1818"/>
                  <a:gd name="T10" fmla="*/ 774 w 884"/>
                  <a:gd name="T11" fmla="*/ 328 h 1818"/>
                  <a:gd name="T12" fmla="*/ 667 w 884"/>
                  <a:gd name="T13" fmla="*/ 331 h 1818"/>
                  <a:gd name="T14" fmla="*/ 625 w 884"/>
                  <a:gd name="T15" fmla="*/ 290 h 1818"/>
                  <a:gd name="T16" fmla="*/ 658 w 884"/>
                  <a:gd name="T17" fmla="*/ 215 h 1818"/>
                  <a:gd name="T18" fmla="*/ 544 w 884"/>
                  <a:gd name="T19" fmla="*/ 148 h 1818"/>
                  <a:gd name="T20" fmla="*/ 425 w 884"/>
                  <a:gd name="T21" fmla="*/ 87 h 1818"/>
                  <a:gd name="T22" fmla="*/ 373 w 884"/>
                  <a:gd name="T23" fmla="*/ 10 h 1818"/>
                  <a:gd name="T24" fmla="*/ 286 w 884"/>
                  <a:gd name="T25" fmla="*/ 22 h 1818"/>
                  <a:gd name="T26" fmla="*/ 234 w 884"/>
                  <a:gd name="T27" fmla="*/ 24 h 1818"/>
                  <a:gd name="T28" fmla="*/ 171 w 884"/>
                  <a:gd name="T29" fmla="*/ 8 h 1818"/>
                  <a:gd name="T30" fmla="*/ 98 w 884"/>
                  <a:gd name="T31" fmla="*/ 54 h 1818"/>
                  <a:gd name="T32" fmla="*/ 67 w 884"/>
                  <a:gd name="T33" fmla="*/ 116 h 1818"/>
                  <a:gd name="T34" fmla="*/ 27 w 884"/>
                  <a:gd name="T35" fmla="*/ 179 h 1818"/>
                  <a:gd name="T36" fmla="*/ 55 w 884"/>
                  <a:gd name="T37" fmla="*/ 251 h 1818"/>
                  <a:gd name="T38" fmla="*/ 51 w 884"/>
                  <a:gd name="T39" fmla="*/ 319 h 1818"/>
                  <a:gd name="T40" fmla="*/ 0 w 884"/>
                  <a:gd name="T41" fmla="*/ 432 h 1818"/>
                  <a:gd name="T42" fmla="*/ 12 w 884"/>
                  <a:gd name="T43" fmla="*/ 609 h 1818"/>
                  <a:gd name="T44" fmla="*/ 76 w 884"/>
                  <a:gd name="T45" fmla="*/ 696 h 1818"/>
                  <a:gd name="T46" fmla="*/ 60 w 884"/>
                  <a:gd name="T47" fmla="*/ 753 h 1818"/>
                  <a:gd name="T48" fmla="*/ 60 w 884"/>
                  <a:gd name="T49" fmla="*/ 808 h 1818"/>
                  <a:gd name="T50" fmla="*/ 81 w 884"/>
                  <a:gd name="T51" fmla="*/ 850 h 1818"/>
                  <a:gd name="T52" fmla="*/ 53 w 884"/>
                  <a:gd name="T53" fmla="*/ 900 h 1818"/>
                  <a:gd name="T54" fmla="*/ 82 w 884"/>
                  <a:gd name="T55" fmla="*/ 983 h 1818"/>
                  <a:gd name="T56" fmla="*/ 81 w 884"/>
                  <a:gd name="T57" fmla="*/ 1055 h 1818"/>
                  <a:gd name="T58" fmla="*/ 78 w 884"/>
                  <a:gd name="T59" fmla="*/ 1152 h 1818"/>
                  <a:gd name="T60" fmla="*/ 137 w 884"/>
                  <a:gd name="T61" fmla="*/ 1265 h 1818"/>
                  <a:gd name="T62" fmla="*/ 198 w 884"/>
                  <a:gd name="T63" fmla="*/ 1394 h 1818"/>
                  <a:gd name="T64" fmla="*/ 217 w 884"/>
                  <a:gd name="T65" fmla="*/ 1463 h 1818"/>
                  <a:gd name="T66" fmla="*/ 230 w 884"/>
                  <a:gd name="T67" fmla="*/ 1526 h 1818"/>
                  <a:gd name="T68" fmla="*/ 213 w 884"/>
                  <a:gd name="T69" fmla="*/ 1590 h 1818"/>
                  <a:gd name="T70" fmla="*/ 201 w 884"/>
                  <a:gd name="T71" fmla="*/ 1644 h 1818"/>
                  <a:gd name="T72" fmla="*/ 228 w 884"/>
                  <a:gd name="T73" fmla="*/ 1718 h 1818"/>
                  <a:gd name="T74" fmla="*/ 311 w 884"/>
                  <a:gd name="T75" fmla="*/ 1772 h 1818"/>
                  <a:gd name="T76" fmla="*/ 392 w 884"/>
                  <a:gd name="T77" fmla="*/ 1798 h 1818"/>
                  <a:gd name="T78" fmla="*/ 451 w 884"/>
                  <a:gd name="T79" fmla="*/ 1786 h 1818"/>
                  <a:gd name="T80" fmla="*/ 454 w 884"/>
                  <a:gd name="T81" fmla="*/ 1703 h 1818"/>
                  <a:gd name="T82" fmla="*/ 470 w 884"/>
                  <a:gd name="T83" fmla="*/ 1612 h 1818"/>
                  <a:gd name="T84" fmla="*/ 495 w 884"/>
                  <a:gd name="T85" fmla="*/ 1509 h 1818"/>
                  <a:gd name="T86" fmla="*/ 420 w 884"/>
                  <a:gd name="T87" fmla="*/ 1486 h 1818"/>
                  <a:gd name="T88" fmla="*/ 401 w 884"/>
                  <a:gd name="T89" fmla="*/ 1430 h 1818"/>
                  <a:gd name="T90" fmla="*/ 453 w 884"/>
                  <a:gd name="T91" fmla="*/ 1395 h 1818"/>
                  <a:gd name="T92" fmla="*/ 484 w 884"/>
                  <a:gd name="T93" fmla="*/ 1332 h 1818"/>
                  <a:gd name="T94" fmla="*/ 455 w 884"/>
                  <a:gd name="T95" fmla="*/ 1224 h 1818"/>
                  <a:gd name="T96" fmla="*/ 425 w 884"/>
                  <a:gd name="T97" fmla="*/ 1141 h 1818"/>
                  <a:gd name="T98" fmla="*/ 518 w 884"/>
                  <a:gd name="T99" fmla="*/ 1166 h 1818"/>
                  <a:gd name="T100" fmla="*/ 568 w 884"/>
                  <a:gd name="T101" fmla="*/ 1151 h 1818"/>
                  <a:gd name="T102" fmla="*/ 558 w 884"/>
                  <a:gd name="T103" fmla="*/ 1078 h 1818"/>
                  <a:gd name="T104" fmla="*/ 565 w 884"/>
                  <a:gd name="T105" fmla="*/ 1030 h 1818"/>
                  <a:gd name="T106" fmla="*/ 676 w 884"/>
                  <a:gd name="T107" fmla="*/ 1023 h 1818"/>
                  <a:gd name="T108" fmla="*/ 795 w 884"/>
                  <a:gd name="T109" fmla="*/ 973 h 1818"/>
                  <a:gd name="T110" fmla="*/ 816 w 884"/>
                  <a:gd name="T111" fmla="*/ 882 h 1818"/>
                  <a:gd name="T112" fmla="*/ 781 w 884"/>
                  <a:gd name="T113" fmla="*/ 852 h 1818"/>
                  <a:gd name="T114" fmla="*/ 758 w 884"/>
                  <a:gd name="T115" fmla="*/ 810 h 1818"/>
                  <a:gd name="T116" fmla="*/ 692 w 884"/>
                  <a:gd name="T117" fmla="*/ 752 h 1818"/>
                  <a:gd name="T118" fmla="*/ 701 w 884"/>
                  <a:gd name="T119" fmla="*/ 532 h 18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 dirty="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</p:grpSp>
        <p:sp>
          <p:nvSpPr>
            <p:cNvPr id="282" name="Freeform 442"/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5040313" y="2324100"/>
              <a:ext cx="123825" cy="109538"/>
            </a:xfrm>
            <a:custGeom>
              <a:avLst/>
              <a:gdLst>
                <a:gd name="T0" fmla="*/ 33 w 279"/>
                <a:gd name="T1" fmla="*/ 87 h 204"/>
                <a:gd name="T2" fmla="*/ 59 w 279"/>
                <a:gd name="T3" fmla="*/ 142 h 204"/>
                <a:gd name="T4" fmla="*/ 59 w 279"/>
                <a:gd name="T5" fmla="*/ 179 h 204"/>
                <a:gd name="T6" fmla="*/ 102 w 279"/>
                <a:gd name="T7" fmla="*/ 196 h 204"/>
                <a:gd name="T8" fmla="*/ 122 w 279"/>
                <a:gd name="T9" fmla="*/ 202 h 204"/>
                <a:gd name="T10" fmla="*/ 139 w 279"/>
                <a:gd name="T11" fmla="*/ 204 h 204"/>
                <a:gd name="T12" fmla="*/ 146 w 279"/>
                <a:gd name="T13" fmla="*/ 201 h 204"/>
                <a:gd name="T14" fmla="*/ 151 w 279"/>
                <a:gd name="T15" fmla="*/ 194 h 204"/>
                <a:gd name="T16" fmla="*/ 160 w 279"/>
                <a:gd name="T17" fmla="*/ 172 h 204"/>
                <a:gd name="T18" fmla="*/ 172 w 279"/>
                <a:gd name="T19" fmla="*/ 149 h 204"/>
                <a:gd name="T20" fmla="*/ 181 w 279"/>
                <a:gd name="T21" fmla="*/ 141 h 204"/>
                <a:gd name="T22" fmla="*/ 192 w 279"/>
                <a:gd name="T23" fmla="*/ 136 h 204"/>
                <a:gd name="T24" fmla="*/ 209 w 279"/>
                <a:gd name="T25" fmla="*/ 138 h 204"/>
                <a:gd name="T26" fmla="*/ 220 w 279"/>
                <a:gd name="T27" fmla="*/ 142 h 204"/>
                <a:gd name="T28" fmla="*/ 228 w 279"/>
                <a:gd name="T29" fmla="*/ 148 h 204"/>
                <a:gd name="T30" fmla="*/ 231 w 279"/>
                <a:gd name="T31" fmla="*/ 154 h 204"/>
                <a:gd name="T32" fmla="*/ 234 w 279"/>
                <a:gd name="T33" fmla="*/ 164 h 204"/>
                <a:gd name="T34" fmla="*/ 231 w 279"/>
                <a:gd name="T35" fmla="*/ 167 h 204"/>
                <a:gd name="T36" fmla="*/ 234 w 279"/>
                <a:gd name="T37" fmla="*/ 153 h 204"/>
                <a:gd name="T38" fmla="*/ 238 w 279"/>
                <a:gd name="T39" fmla="*/ 140 h 204"/>
                <a:gd name="T40" fmla="*/ 245 w 279"/>
                <a:gd name="T41" fmla="*/ 117 h 204"/>
                <a:gd name="T42" fmla="*/ 254 w 279"/>
                <a:gd name="T43" fmla="*/ 115 h 204"/>
                <a:gd name="T44" fmla="*/ 264 w 279"/>
                <a:gd name="T45" fmla="*/ 110 h 204"/>
                <a:gd name="T46" fmla="*/ 279 w 279"/>
                <a:gd name="T47" fmla="*/ 99 h 204"/>
                <a:gd name="T48" fmla="*/ 252 w 279"/>
                <a:gd name="T49" fmla="*/ 75 h 204"/>
                <a:gd name="T50" fmla="*/ 227 w 279"/>
                <a:gd name="T51" fmla="*/ 58 h 204"/>
                <a:gd name="T52" fmla="*/ 204 w 279"/>
                <a:gd name="T53" fmla="*/ 44 h 204"/>
                <a:gd name="T54" fmla="*/ 185 w 279"/>
                <a:gd name="T55" fmla="*/ 31 h 204"/>
                <a:gd name="T56" fmla="*/ 146 w 279"/>
                <a:gd name="T57" fmla="*/ 68 h 204"/>
                <a:gd name="T58" fmla="*/ 79 w 279"/>
                <a:gd name="T59" fmla="*/ 25 h 204"/>
                <a:gd name="T60" fmla="*/ 52 w 279"/>
                <a:gd name="T61" fmla="*/ 12 h 204"/>
                <a:gd name="T62" fmla="*/ 46 w 279"/>
                <a:gd name="T63" fmla="*/ 62 h 204"/>
                <a:gd name="T64" fmla="*/ 0 w 279"/>
                <a:gd name="T65" fmla="*/ 56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83" name="Freeform 443"/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4506913" y="1897063"/>
              <a:ext cx="209550" cy="150812"/>
            </a:xfrm>
            <a:custGeom>
              <a:avLst/>
              <a:gdLst>
                <a:gd name="T0" fmla="*/ 252 w 485"/>
                <a:gd name="T1" fmla="*/ 20 h 291"/>
                <a:gd name="T2" fmla="*/ 300 w 485"/>
                <a:gd name="T3" fmla="*/ 44 h 291"/>
                <a:gd name="T4" fmla="*/ 372 w 485"/>
                <a:gd name="T5" fmla="*/ 44 h 291"/>
                <a:gd name="T6" fmla="*/ 425 w 485"/>
                <a:gd name="T7" fmla="*/ 131 h 291"/>
                <a:gd name="T8" fmla="*/ 485 w 485"/>
                <a:gd name="T9" fmla="*/ 167 h 291"/>
                <a:gd name="T10" fmla="*/ 412 w 485"/>
                <a:gd name="T11" fmla="*/ 173 h 291"/>
                <a:gd name="T12" fmla="*/ 433 w 485"/>
                <a:gd name="T13" fmla="*/ 210 h 291"/>
                <a:gd name="T14" fmla="*/ 392 w 485"/>
                <a:gd name="T15" fmla="*/ 241 h 291"/>
                <a:gd name="T16" fmla="*/ 385 w 485"/>
                <a:gd name="T17" fmla="*/ 291 h 291"/>
                <a:gd name="T18" fmla="*/ 285 w 485"/>
                <a:gd name="T19" fmla="*/ 266 h 291"/>
                <a:gd name="T20" fmla="*/ 173 w 485"/>
                <a:gd name="T21" fmla="*/ 254 h 291"/>
                <a:gd name="T22" fmla="*/ 60 w 485"/>
                <a:gd name="T23" fmla="*/ 266 h 291"/>
                <a:gd name="T24" fmla="*/ 15 w 485"/>
                <a:gd name="T25" fmla="*/ 271 h 291"/>
                <a:gd name="T26" fmla="*/ 8 w 485"/>
                <a:gd name="T27" fmla="*/ 257 h 291"/>
                <a:gd name="T28" fmla="*/ 3 w 485"/>
                <a:gd name="T29" fmla="*/ 244 h 291"/>
                <a:gd name="T30" fmla="*/ 0 w 485"/>
                <a:gd name="T31" fmla="*/ 229 h 291"/>
                <a:gd name="T32" fmla="*/ 5 w 485"/>
                <a:gd name="T33" fmla="*/ 219 h 291"/>
                <a:gd name="T34" fmla="*/ 14 w 485"/>
                <a:gd name="T35" fmla="*/ 207 h 291"/>
                <a:gd name="T36" fmla="*/ 23 w 485"/>
                <a:gd name="T37" fmla="*/ 189 h 291"/>
                <a:gd name="T38" fmla="*/ 31 w 485"/>
                <a:gd name="T39" fmla="*/ 166 h 291"/>
                <a:gd name="T40" fmla="*/ 41 w 485"/>
                <a:gd name="T41" fmla="*/ 137 h 291"/>
                <a:gd name="T42" fmla="*/ 48 w 485"/>
                <a:gd name="T43" fmla="*/ 126 h 291"/>
                <a:gd name="T44" fmla="*/ 60 w 485"/>
                <a:gd name="T45" fmla="*/ 119 h 291"/>
                <a:gd name="T46" fmla="*/ 87 w 485"/>
                <a:gd name="T47" fmla="*/ 111 h 291"/>
                <a:gd name="T48" fmla="*/ 89 w 485"/>
                <a:gd name="T49" fmla="*/ 106 h 291"/>
                <a:gd name="T50" fmla="*/ 94 w 485"/>
                <a:gd name="T51" fmla="*/ 100 h 291"/>
                <a:gd name="T52" fmla="*/ 101 w 485"/>
                <a:gd name="T53" fmla="*/ 95 h 291"/>
                <a:gd name="T54" fmla="*/ 106 w 485"/>
                <a:gd name="T55" fmla="*/ 93 h 291"/>
                <a:gd name="T56" fmla="*/ 106 w 485"/>
                <a:gd name="T57" fmla="*/ 76 h 291"/>
                <a:gd name="T58" fmla="*/ 109 w 485"/>
                <a:gd name="T59" fmla="*/ 70 h 291"/>
                <a:gd name="T60" fmla="*/ 113 w 485"/>
                <a:gd name="T61" fmla="*/ 67 h 291"/>
                <a:gd name="T62" fmla="*/ 122 w 485"/>
                <a:gd name="T63" fmla="*/ 69 h 291"/>
                <a:gd name="T64" fmla="*/ 128 w 485"/>
                <a:gd name="T65" fmla="*/ 69 h 291"/>
                <a:gd name="T66" fmla="*/ 132 w 485"/>
                <a:gd name="T67" fmla="*/ 66 h 291"/>
                <a:gd name="T68" fmla="*/ 134 w 485"/>
                <a:gd name="T69" fmla="*/ 56 h 291"/>
                <a:gd name="T70" fmla="*/ 139 w 485"/>
                <a:gd name="T71" fmla="*/ 44 h 291"/>
                <a:gd name="T72" fmla="*/ 144 w 485"/>
                <a:gd name="T73" fmla="*/ 39 h 291"/>
                <a:gd name="T74" fmla="*/ 213 w 485"/>
                <a:gd name="T75" fmla="*/ 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84" name="Freeform 444"/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4364038" y="2228850"/>
              <a:ext cx="82550" cy="87313"/>
            </a:xfrm>
            <a:custGeom>
              <a:avLst/>
              <a:gdLst>
                <a:gd name="T0" fmla="*/ 86 w 186"/>
                <a:gd name="T1" fmla="*/ 147 h 166"/>
                <a:gd name="T2" fmla="*/ 83 w 186"/>
                <a:gd name="T3" fmla="*/ 136 h 166"/>
                <a:gd name="T4" fmla="*/ 78 w 186"/>
                <a:gd name="T5" fmla="*/ 127 h 166"/>
                <a:gd name="T6" fmla="*/ 74 w 186"/>
                <a:gd name="T7" fmla="*/ 118 h 166"/>
                <a:gd name="T8" fmla="*/ 70 w 186"/>
                <a:gd name="T9" fmla="*/ 110 h 166"/>
                <a:gd name="T10" fmla="*/ 60 w 186"/>
                <a:gd name="T11" fmla="*/ 95 h 166"/>
                <a:gd name="T12" fmla="*/ 49 w 186"/>
                <a:gd name="T13" fmla="*/ 82 h 166"/>
                <a:gd name="T14" fmla="*/ 37 w 186"/>
                <a:gd name="T15" fmla="*/ 70 h 166"/>
                <a:gd name="T16" fmla="*/ 25 w 186"/>
                <a:gd name="T17" fmla="*/ 56 h 166"/>
                <a:gd name="T18" fmla="*/ 13 w 186"/>
                <a:gd name="T19" fmla="*/ 38 h 166"/>
                <a:gd name="T20" fmla="*/ 0 w 186"/>
                <a:gd name="T21" fmla="*/ 18 h 166"/>
                <a:gd name="T22" fmla="*/ 0 w 186"/>
                <a:gd name="T23" fmla="*/ 0 h 166"/>
                <a:gd name="T24" fmla="*/ 7 w 186"/>
                <a:gd name="T25" fmla="*/ 2 h 166"/>
                <a:gd name="T26" fmla="*/ 14 w 186"/>
                <a:gd name="T27" fmla="*/ 3 h 166"/>
                <a:gd name="T28" fmla="*/ 20 w 186"/>
                <a:gd name="T29" fmla="*/ 4 h 166"/>
                <a:gd name="T30" fmla="*/ 27 w 186"/>
                <a:gd name="T31" fmla="*/ 4 h 166"/>
                <a:gd name="T32" fmla="*/ 33 w 186"/>
                <a:gd name="T33" fmla="*/ 4 h 166"/>
                <a:gd name="T34" fmla="*/ 40 w 186"/>
                <a:gd name="T35" fmla="*/ 3 h 166"/>
                <a:gd name="T36" fmla="*/ 47 w 186"/>
                <a:gd name="T37" fmla="*/ 2 h 166"/>
                <a:gd name="T38" fmla="*/ 53 w 186"/>
                <a:gd name="T39" fmla="*/ 0 h 166"/>
                <a:gd name="T40" fmla="*/ 140 w 186"/>
                <a:gd name="T41" fmla="*/ 12 h 166"/>
                <a:gd name="T42" fmla="*/ 186 w 186"/>
                <a:gd name="T43" fmla="*/ 91 h 166"/>
                <a:gd name="T44" fmla="*/ 171 w 186"/>
                <a:gd name="T45" fmla="*/ 112 h 166"/>
                <a:gd name="T46" fmla="*/ 155 w 186"/>
                <a:gd name="T47" fmla="*/ 129 h 166"/>
                <a:gd name="T48" fmla="*/ 149 w 186"/>
                <a:gd name="T49" fmla="*/ 137 h 166"/>
                <a:gd name="T50" fmla="*/ 144 w 186"/>
                <a:gd name="T51" fmla="*/ 145 h 166"/>
                <a:gd name="T52" fmla="*/ 142 w 186"/>
                <a:gd name="T53" fmla="*/ 150 h 166"/>
                <a:gd name="T54" fmla="*/ 141 w 186"/>
                <a:gd name="T55" fmla="*/ 156 h 166"/>
                <a:gd name="T56" fmla="*/ 140 w 186"/>
                <a:gd name="T57" fmla="*/ 161 h 166"/>
                <a:gd name="T58" fmla="*/ 140 w 186"/>
                <a:gd name="T59" fmla="*/ 166 h 166"/>
                <a:gd name="T60" fmla="*/ 86 w 186"/>
                <a:gd name="T61" fmla="*/ 147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85" name="Freeform 445"/>
            <p:cNvSpPr>
              <a:spLocks/>
            </p:cNvSpPr>
            <p:nvPr>
              <p:custDataLst>
                <p:tags r:id="rId279"/>
              </p:custDataLst>
            </p:nvPr>
          </p:nvSpPr>
          <p:spPr bwMode="auto">
            <a:xfrm>
              <a:off x="2728913" y="3665538"/>
              <a:ext cx="82550" cy="57150"/>
            </a:xfrm>
            <a:custGeom>
              <a:avLst/>
              <a:gdLst>
                <a:gd name="T0" fmla="*/ 153 w 186"/>
                <a:gd name="T1" fmla="*/ 21 h 104"/>
                <a:gd name="T2" fmla="*/ 146 w 186"/>
                <a:gd name="T3" fmla="*/ 21 h 104"/>
                <a:gd name="T4" fmla="*/ 141 w 186"/>
                <a:gd name="T5" fmla="*/ 20 h 104"/>
                <a:gd name="T6" fmla="*/ 136 w 186"/>
                <a:gd name="T7" fmla="*/ 18 h 104"/>
                <a:gd name="T8" fmla="*/ 133 w 186"/>
                <a:gd name="T9" fmla="*/ 15 h 104"/>
                <a:gd name="T10" fmla="*/ 130 w 186"/>
                <a:gd name="T11" fmla="*/ 13 h 104"/>
                <a:gd name="T12" fmla="*/ 125 w 186"/>
                <a:gd name="T13" fmla="*/ 11 h 104"/>
                <a:gd name="T14" fmla="*/ 120 w 186"/>
                <a:gd name="T15" fmla="*/ 10 h 104"/>
                <a:gd name="T16" fmla="*/ 113 w 186"/>
                <a:gd name="T17" fmla="*/ 9 h 104"/>
                <a:gd name="T18" fmla="*/ 100 w 186"/>
                <a:gd name="T19" fmla="*/ 8 h 104"/>
                <a:gd name="T20" fmla="*/ 88 w 186"/>
                <a:gd name="T21" fmla="*/ 6 h 104"/>
                <a:gd name="T22" fmla="*/ 75 w 186"/>
                <a:gd name="T23" fmla="*/ 3 h 104"/>
                <a:gd name="T24" fmla="*/ 64 w 186"/>
                <a:gd name="T25" fmla="*/ 1 h 104"/>
                <a:gd name="T26" fmla="*/ 60 w 186"/>
                <a:gd name="T27" fmla="*/ 0 h 104"/>
                <a:gd name="T28" fmla="*/ 54 w 186"/>
                <a:gd name="T29" fmla="*/ 0 h 104"/>
                <a:gd name="T30" fmla="*/ 51 w 186"/>
                <a:gd name="T31" fmla="*/ 1 h 104"/>
                <a:gd name="T32" fmla="*/ 46 w 186"/>
                <a:gd name="T33" fmla="*/ 2 h 104"/>
                <a:gd name="T34" fmla="*/ 44 w 186"/>
                <a:gd name="T35" fmla="*/ 4 h 104"/>
                <a:gd name="T36" fmla="*/ 42 w 186"/>
                <a:gd name="T37" fmla="*/ 6 h 104"/>
                <a:gd name="T38" fmla="*/ 41 w 186"/>
                <a:gd name="T39" fmla="*/ 10 h 104"/>
                <a:gd name="T40" fmla="*/ 40 w 186"/>
                <a:gd name="T41" fmla="*/ 15 h 104"/>
                <a:gd name="T42" fmla="*/ 34 w 186"/>
                <a:gd name="T43" fmla="*/ 27 h 104"/>
                <a:gd name="T44" fmla="*/ 20 w 186"/>
                <a:gd name="T45" fmla="*/ 47 h 104"/>
                <a:gd name="T46" fmla="*/ 7 w 186"/>
                <a:gd name="T47" fmla="*/ 66 h 104"/>
                <a:gd name="T48" fmla="*/ 0 w 186"/>
                <a:gd name="T49" fmla="*/ 77 h 104"/>
                <a:gd name="T50" fmla="*/ 8 w 186"/>
                <a:gd name="T51" fmla="*/ 77 h 104"/>
                <a:gd name="T52" fmla="*/ 16 w 186"/>
                <a:gd name="T53" fmla="*/ 78 h 104"/>
                <a:gd name="T54" fmla="*/ 21 w 186"/>
                <a:gd name="T55" fmla="*/ 79 h 104"/>
                <a:gd name="T56" fmla="*/ 25 w 186"/>
                <a:gd name="T57" fmla="*/ 81 h 104"/>
                <a:gd name="T58" fmla="*/ 33 w 186"/>
                <a:gd name="T59" fmla="*/ 85 h 104"/>
                <a:gd name="T60" fmla="*/ 40 w 186"/>
                <a:gd name="T61" fmla="*/ 89 h 104"/>
                <a:gd name="T62" fmla="*/ 45 w 186"/>
                <a:gd name="T63" fmla="*/ 94 h 104"/>
                <a:gd name="T64" fmla="*/ 52 w 186"/>
                <a:gd name="T65" fmla="*/ 98 h 104"/>
                <a:gd name="T66" fmla="*/ 56 w 186"/>
                <a:gd name="T67" fmla="*/ 100 h 104"/>
                <a:gd name="T68" fmla="*/ 61 w 186"/>
                <a:gd name="T69" fmla="*/ 101 h 104"/>
                <a:gd name="T70" fmla="*/ 66 w 186"/>
                <a:gd name="T71" fmla="*/ 102 h 104"/>
                <a:gd name="T72" fmla="*/ 74 w 186"/>
                <a:gd name="T73" fmla="*/ 102 h 104"/>
                <a:gd name="T74" fmla="*/ 107 w 186"/>
                <a:gd name="T75" fmla="*/ 103 h 104"/>
                <a:gd name="T76" fmla="*/ 131 w 186"/>
                <a:gd name="T77" fmla="*/ 104 h 104"/>
                <a:gd name="T78" fmla="*/ 135 w 186"/>
                <a:gd name="T79" fmla="*/ 103 h 104"/>
                <a:gd name="T80" fmla="*/ 139 w 186"/>
                <a:gd name="T81" fmla="*/ 102 h 104"/>
                <a:gd name="T82" fmla="*/ 142 w 186"/>
                <a:gd name="T83" fmla="*/ 100 h 104"/>
                <a:gd name="T84" fmla="*/ 145 w 186"/>
                <a:gd name="T85" fmla="*/ 97 h 104"/>
                <a:gd name="T86" fmla="*/ 147 w 186"/>
                <a:gd name="T87" fmla="*/ 94 h 104"/>
                <a:gd name="T88" fmla="*/ 150 w 186"/>
                <a:gd name="T89" fmla="*/ 88 h 104"/>
                <a:gd name="T90" fmla="*/ 152 w 186"/>
                <a:gd name="T91" fmla="*/ 83 h 104"/>
                <a:gd name="T92" fmla="*/ 153 w 186"/>
                <a:gd name="T93" fmla="*/ 77 h 104"/>
                <a:gd name="T94" fmla="*/ 186 w 186"/>
                <a:gd name="T95" fmla="*/ 27 h 104"/>
                <a:gd name="T96" fmla="*/ 153 w 186"/>
                <a:gd name="T97" fmla="*/ 2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86" name="Freeform 446"/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4522788" y="2263775"/>
              <a:ext cx="133350" cy="96838"/>
            </a:xfrm>
            <a:custGeom>
              <a:avLst/>
              <a:gdLst>
                <a:gd name="T0" fmla="*/ 79 w 311"/>
                <a:gd name="T1" fmla="*/ 38 h 179"/>
                <a:gd name="T2" fmla="*/ 115 w 311"/>
                <a:gd name="T3" fmla="*/ 26 h 179"/>
                <a:gd name="T4" fmla="*/ 148 w 311"/>
                <a:gd name="T5" fmla="*/ 14 h 179"/>
                <a:gd name="T6" fmla="*/ 178 w 311"/>
                <a:gd name="T7" fmla="*/ 4 h 179"/>
                <a:gd name="T8" fmla="*/ 211 w 311"/>
                <a:gd name="T9" fmla="*/ 0 h 179"/>
                <a:gd name="T10" fmla="*/ 236 w 311"/>
                <a:gd name="T11" fmla="*/ 2 h 179"/>
                <a:gd name="T12" fmla="*/ 256 w 311"/>
                <a:gd name="T13" fmla="*/ 6 h 179"/>
                <a:gd name="T14" fmla="*/ 292 w 311"/>
                <a:gd name="T15" fmla="*/ 12 h 179"/>
                <a:gd name="T16" fmla="*/ 287 w 311"/>
                <a:gd name="T17" fmla="*/ 28 h 179"/>
                <a:gd name="T18" fmla="*/ 278 w 311"/>
                <a:gd name="T19" fmla="*/ 42 h 179"/>
                <a:gd name="T20" fmla="*/ 269 w 311"/>
                <a:gd name="T21" fmla="*/ 53 h 179"/>
                <a:gd name="T22" fmla="*/ 265 w 311"/>
                <a:gd name="T23" fmla="*/ 62 h 179"/>
                <a:gd name="T24" fmla="*/ 266 w 311"/>
                <a:gd name="T25" fmla="*/ 66 h 179"/>
                <a:gd name="T26" fmla="*/ 271 w 311"/>
                <a:gd name="T27" fmla="*/ 71 h 179"/>
                <a:gd name="T28" fmla="*/ 285 w 311"/>
                <a:gd name="T29" fmla="*/ 79 h 179"/>
                <a:gd name="T30" fmla="*/ 311 w 311"/>
                <a:gd name="T31" fmla="*/ 93 h 179"/>
                <a:gd name="T32" fmla="*/ 287 w 311"/>
                <a:gd name="T33" fmla="*/ 107 h 179"/>
                <a:gd name="T34" fmla="*/ 281 w 311"/>
                <a:gd name="T35" fmla="*/ 115 h 179"/>
                <a:gd name="T36" fmla="*/ 278 w 311"/>
                <a:gd name="T37" fmla="*/ 129 h 179"/>
                <a:gd name="T38" fmla="*/ 252 w 311"/>
                <a:gd name="T39" fmla="*/ 136 h 179"/>
                <a:gd name="T40" fmla="*/ 211 w 311"/>
                <a:gd name="T41" fmla="*/ 148 h 179"/>
                <a:gd name="T42" fmla="*/ 191 w 311"/>
                <a:gd name="T43" fmla="*/ 168 h 179"/>
                <a:gd name="T44" fmla="*/ 178 w 311"/>
                <a:gd name="T45" fmla="*/ 176 h 179"/>
                <a:gd name="T46" fmla="*/ 165 w 311"/>
                <a:gd name="T47" fmla="*/ 179 h 179"/>
                <a:gd name="T48" fmla="*/ 151 w 311"/>
                <a:gd name="T49" fmla="*/ 175 h 179"/>
                <a:gd name="T50" fmla="*/ 137 w 311"/>
                <a:gd name="T51" fmla="*/ 167 h 179"/>
                <a:gd name="T52" fmla="*/ 120 w 311"/>
                <a:gd name="T53" fmla="*/ 158 h 179"/>
                <a:gd name="T54" fmla="*/ 98 w 311"/>
                <a:gd name="T55" fmla="*/ 155 h 179"/>
                <a:gd name="T56" fmla="*/ 66 w 311"/>
                <a:gd name="T57" fmla="*/ 155 h 179"/>
                <a:gd name="T58" fmla="*/ 51 w 311"/>
                <a:gd name="T59" fmla="*/ 157 h 179"/>
                <a:gd name="T60" fmla="*/ 39 w 311"/>
                <a:gd name="T61" fmla="*/ 161 h 179"/>
                <a:gd name="T62" fmla="*/ 36 w 311"/>
                <a:gd name="T63" fmla="*/ 142 h 179"/>
                <a:gd name="T64" fmla="*/ 32 w 311"/>
                <a:gd name="T65" fmla="*/ 123 h 179"/>
                <a:gd name="T66" fmla="*/ 21 w 311"/>
                <a:gd name="T67" fmla="*/ 128 h 179"/>
                <a:gd name="T68" fmla="*/ 13 w 311"/>
                <a:gd name="T69" fmla="*/ 129 h 179"/>
                <a:gd name="T70" fmla="*/ 7 w 311"/>
                <a:gd name="T71" fmla="*/ 126 h 179"/>
                <a:gd name="T72" fmla="*/ 3 w 311"/>
                <a:gd name="T73" fmla="*/ 121 h 179"/>
                <a:gd name="T74" fmla="*/ 0 w 311"/>
                <a:gd name="T75" fmla="*/ 105 h 179"/>
                <a:gd name="T76" fmla="*/ 0 w 311"/>
                <a:gd name="T77" fmla="*/ 87 h 179"/>
                <a:gd name="T78" fmla="*/ 3 w 311"/>
                <a:gd name="T79" fmla="*/ 82 h 179"/>
                <a:gd name="T80" fmla="*/ 13 w 311"/>
                <a:gd name="T81" fmla="*/ 78 h 179"/>
                <a:gd name="T82" fmla="*/ 21 w 311"/>
                <a:gd name="T83" fmla="*/ 72 h 179"/>
                <a:gd name="T84" fmla="*/ 25 w 311"/>
                <a:gd name="T85" fmla="*/ 68 h 179"/>
                <a:gd name="T86" fmla="*/ 26 w 311"/>
                <a:gd name="T87" fmla="*/ 62 h 179"/>
                <a:gd name="T88" fmla="*/ 24 w 311"/>
                <a:gd name="T89" fmla="*/ 51 h 179"/>
                <a:gd name="T90" fmla="*/ 19 w 311"/>
                <a:gd name="T91" fmla="*/ 43 h 179"/>
                <a:gd name="T92" fmla="*/ 8 w 311"/>
                <a:gd name="T93" fmla="*/ 29 h 179"/>
                <a:gd name="T94" fmla="*/ 1 w 311"/>
                <a:gd name="T95" fmla="*/ 18 h 179"/>
                <a:gd name="T96" fmla="*/ 1 w 311"/>
                <a:gd name="T97" fmla="*/ 13 h 179"/>
                <a:gd name="T98" fmla="*/ 6 w 311"/>
                <a:gd name="T99" fmla="*/ 6 h 179"/>
                <a:gd name="T100" fmla="*/ 0 w 311"/>
                <a:gd name="T101" fmla="*/ 6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87" name="Freeform 447"/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3878263" y="3190875"/>
              <a:ext cx="177800" cy="165100"/>
            </a:xfrm>
            <a:custGeom>
              <a:avLst/>
              <a:gdLst>
                <a:gd name="T0" fmla="*/ 6 w 405"/>
                <a:gd name="T1" fmla="*/ 260 h 314"/>
                <a:gd name="T2" fmla="*/ 13 w 405"/>
                <a:gd name="T3" fmla="*/ 237 h 314"/>
                <a:gd name="T4" fmla="*/ 17 w 405"/>
                <a:gd name="T5" fmla="*/ 202 h 314"/>
                <a:gd name="T6" fmla="*/ 23 w 405"/>
                <a:gd name="T7" fmla="*/ 173 h 314"/>
                <a:gd name="T8" fmla="*/ 32 w 405"/>
                <a:gd name="T9" fmla="*/ 162 h 314"/>
                <a:gd name="T10" fmla="*/ 48 w 405"/>
                <a:gd name="T11" fmla="*/ 150 h 314"/>
                <a:gd name="T12" fmla="*/ 72 w 405"/>
                <a:gd name="T13" fmla="*/ 141 h 314"/>
                <a:gd name="T14" fmla="*/ 93 w 405"/>
                <a:gd name="T15" fmla="*/ 134 h 314"/>
                <a:gd name="T16" fmla="*/ 104 w 405"/>
                <a:gd name="T17" fmla="*/ 125 h 314"/>
                <a:gd name="T18" fmla="*/ 113 w 405"/>
                <a:gd name="T19" fmla="*/ 114 h 314"/>
                <a:gd name="T20" fmla="*/ 123 w 405"/>
                <a:gd name="T21" fmla="*/ 93 h 314"/>
                <a:gd name="T22" fmla="*/ 136 w 405"/>
                <a:gd name="T23" fmla="*/ 69 h 314"/>
                <a:gd name="T24" fmla="*/ 147 w 405"/>
                <a:gd name="T25" fmla="*/ 55 h 314"/>
                <a:gd name="T26" fmla="*/ 155 w 405"/>
                <a:gd name="T27" fmla="*/ 51 h 314"/>
                <a:gd name="T28" fmla="*/ 170 w 405"/>
                <a:gd name="T29" fmla="*/ 51 h 314"/>
                <a:gd name="T30" fmla="*/ 189 w 405"/>
                <a:gd name="T31" fmla="*/ 48 h 314"/>
                <a:gd name="T32" fmla="*/ 213 w 405"/>
                <a:gd name="T33" fmla="*/ 35 h 314"/>
                <a:gd name="T34" fmla="*/ 237 w 405"/>
                <a:gd name="T35" fmla="*/ 20 h 314"/>
                <a:gd name="T36" fmla="*/ 257 w 405"/>
                <a:gd name="T37" fmla="*/ 11 h 314"/>
                <a:gd name="T38" fmla="*/ 282 w 405"/>
                <a:gd name="T39" fmla="*/ 4 h 314"/>
                <a:gd name="T40" fmla="*/ 314 w 405"/>
                <a:gd name="T41" fmla="*/ 0 h 314"/>
                <a:gd name="T42" fmla="*/ 332 w 405"/>
                <a:gd name="T43" fmla="*/ 14 h 314"/>
                <a:gd name="T44" fmla="*/ 337 w 405"/>
                <a:gd name="T45" fmla="*/ 34 h 314"/>
                <a:gd name="T46" fmla="*/ 343 w 405"/>
                <a:gd name="T47" fmla="*/ 50 h 314"/>
                <a:gd name="T48" fmla="*/ 352 w 405"/>
                <a:gd name="T49" fmla="*/ 62 h 314"/>
                <a:gd name="T50" fmla="*/ 368 w 405"/>
                <a:gd name="T51" fmla="*/ 74 h 314"/>
                <a:gd name="T52" fmla="*/ 382 w 405"/>
                <a:gd name="T53" fmla="*/ 85 h 314"/>
                <a:gd name="T54" fmla="*/ 390 w 405"/>
                <a:gd name="T55" fmla="*/ 93 h 314"/>
                <a:gd name="T56" fmla="*/ 396 w 405"/>
                <a:gd name="T57" fmla="*/ 115 h 314"/>
                <a:gd name="T58" fmla="*/ 398 w 405"/>
                <a:gd name="T59" fmla="*/ 143 h 314"/>
                <a:gd name="T60" fmla="*/ 398 w 405"/>
                <a:gd name="T61" fmla="*/ 170 h 314"/>
                <a:gd name="T62" fmla="*/ 402 w 405"/>
                <a:gd name="T63" fmla="*/ 196 h 314"/>
                <a:gd name="T64" fmla="*/ 398 w 405"/>
                <a:gd name="T65" fmla="*/ 217 h 314"/>
                <a:gd name="T66" fmla="*/ 382 w 405"/>
                <a:gd name="T67" fmla="*/ 226 h 314"/>
                <a:gd name="T68" fmla="*/ 365 w 405"/>
                <a:gd name="T69" fmla="*/ 241 h 314"/>
                <a:gd name="T70" fmla="*/ 363 w 405"/>
                <a:gd name="T71" fmla="*/ 237 h 314"/>
                <a:gd name="T72" fmla="*/ 358 w 405"/>
                <a:gd name="T73" fmla="*/ 233 h 314"/>
                <a:gd name="T74" fmla="*/ 342 w 405"/>
                <a:gd name="T75" fmla="*/ 227 h 314"/>
                <a:gd name="T76" fmla="*/ 319 w 405"/>
                <a:gd name="T77" fmla="*/ 223 h 314"/>
                <a:gd name="T78" fmla="*/ 152 w 405"/>
                <a:gd name="T79" fmla="*/ 241 h 314"/>
                <a:gd name="T80" fmla="*/ 150 w 405"/>
                <a:gd name="T81" fmla="*/ 257 h 314"/>
                <a:gd name="T82" fmla="*/ 150 w 405"/>
                <a:gd name="T83" fmla="*/ 274 h 314"/>
                <a:gd name="T84" fmla="*/ 152 w 405"/>
                <a:gd name="T85" fmla="*/ 314 h 314"/>
                <a:gd name="T86" fmla="*/ 139 w 405"/>
                <a:gd name="T87" fmla="*/ 312 h 314"/>
                <a:gd name="T88" fmla="*/ 126 w 405"/>
                <a:gd name="T89" fmla="*/ 305 h 314"/>
                <a:gd name="T90" fmla="*/ 100 w 405"/>
                <a:gd name="T91" fmla="*/ 290 h 314"/>
                <a:gd name="T92" fmla="*/ 89 w 405"/>
                <a:gd name="T93" fmla="*/ 307 h 314"/>
                <a:gd name="T94" fmla="*/ 82 w 405"/>
                <a:gd name="T95" fmla="*/ 312 h 314"/>
                <a:gd name="T96" fmla="*/ 73 w 405"/>
                <a:gd name="T97" fmla="*/ 314 h 314"/>
                <a:gd name="T98" fmla="*/ 60 w 405"/>
                <a:gd name="T99" fmla="*/ 311 h 314"/>
                <a:gd name="T100" fmla="*/ 47 w 405"/>
                <a:gd name="T101" fmla="*/ 302 h 314"/>
                <a:gd name="T102" fmla="*/ 28 w 405"/>
                <a:gd name="T103" fmla="*/ 291 h 314"/>
                <a:gd name="T104" fmla="*/ 0 w 405"/>
                <a:gd name="T105" fmla="*/ 28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88" name="Freeform 448"/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4225925" y="3259138"/>
              <a:ext cx="193675" cy="349250"/>
            </a:xfrm>
            <a:custGeom>
              <a:avLst/>
              <a:gdLst>
                <a:gd name="T0" fmla="*/ 335 w 453"/>
                <a:gd name="T1" fmla="*/ 36 h 661"/>
                <a:gd name="T2" fmla="*/ 321 w 453"/>
                <a:gd name="T3" fmla="*/ 98 h 661"/>
                <a:gd name="T4" fmla="*/ 277 w 453"/>
                <a:gd name="T5" fmla="*/ 162 h 661"/>
                <a:gd name="T6" fmla="*/ 253 w 453"/>
                <a:gd name="T7" fmla="*/ 219 h 661"/>
                <a:gd name="T8" fmla="*/ 232 w 453"/>
                <a:gd name="T9" fmla="*/ 272 h 661"/>
                <a:gd name="T10" fmla="*/ 209 w 453"/>
                <a:gd name="T11" fmla="*/ 329 h 661"/>
                <a:gd name="T12" fmla="*/ 196 w 453"/>
                <a:gd name="T13" fmla="*/ 362 h 661"/>
                <a:gd name="T14" fmla="*/ 180 w 453"/>
                <a:gd name="T15" fmla="*/ 380 h 661"/>
                <a:gd name="T16" fmla="*/ 167 w 453"/>
                <a:gd name="T17" fmla="*/ 390 h 661"/>
                <a:gd name="T18" fmla="*/ 141 w 453"/>
                <a:gd name="T19" fmla="*/ 382 h 661"/>
                <a:gd name="T20" fmla="*/ 121 w 453"/>
                <a:gd name="T21" fmla="*/ 370 h 661"/>
                <a:gd name="T22" fmla="*/ 94 w 453"/>
                <a:gd name="T23" fmla="*/ 367 h 661"/>
                <a:gd name="T24" fmla="*/ 64 w 453"/>
                <a:gd name="T25" fmla="*/ 380 h 661"/>
                <a:gd name="T26" fmla="*/ 44 w 453"/>
                <a:gd name="T27" fmla="*/ 403 h 661"/>
                <a:gd name="T28" fmla="*/ 21 w 453"/>
                <a:gd name="T29" fmla="*/ 454 h 661"/>
                <a:gd name="T30" fmla="*/ 7 w 453"/>
                <a:gd name="T31" fmla="*/ 482 h 661"/>
                <a:gd name="T32" fmla="*/ 1 w 453"/>
                <a:gd name="T33" fmla="*/ 500 h 661"/>
                <a:gd name="T34" fmla="*/ 8 w 453"/>
                <a:gd name="T35" fmla="*/ 517 h 661"/>
                <a:gd name="T36" fmla="*/ 20 w 453"/>
                <a:gd name="T37" fmla="*/ 526 h 661"/>
                <a:gd name="T38" fmla="*/ 55 w 453"/>
                <a:gd name="T39" fmla="*/ 526 h 661"/>
                <a:gd name="T40" fmla="*/ 71 w 453"/>
                <a:gd name="T41" fmla="*/ 548 h 661"/>
                <a:gd name="T42" fmla="*/ 73 w 453"/>
                <a:gd name="T43" fmla="*/ 590 h 661"/>
                <a:gd name="T44" fmla="*/ 67 w 453"/>
                <a:gd name="T45" fmla="*/ 630 h 661"/>
                <a:gd name="T46" fmla="*/ 433 w 453"/>
                <a:gd name="T47" fmla="*/ 661 h 661"/>
                <a:gd name="T48" fmla="*/ 442 w 453"/>
                <a:gd name="T49" fmla="*/ 582 h 661"/>
                <a:gd name="T50" fmla="*/ 415 w 453"/>
                <a:gd name="T51" fmla="*/ 568 h 661"/>
                <a:gd name="T52" fmla="*/ 373 w 453"/>
                <a:gd name="T53" fmla="*/ 557 h 661"/>
                <a:gd name="T54" fmla="*/ 353 w 453"/>
                <a:gd name="T55" fmla="*/ 549 h 661"/>
                <a:gd name="T56" fmla="*/ 340 w 453"/>
                <a:gd name="T57" fmla="*/ 537 h 661"/>
                <a:gd name="T58" fmla="*/ 333 w 453"/>
                <a:gd name="T59" fmla="*/ 515 h 661"/>
                <a:gd name="T60" fmla="*/ 333 w 453"/>
                <a:gd name="T61" fmla="*/ 464 h 661"/>
                <a:gd name="T62" fmla="*/ 337 w 453"/>
                <a:gd name="T63" fmla="*/ 428 h 661"/>
                <a:gd name="T64" fmla="*/ 351 w 453"/>
                <a:gd name="T65" fmla="*/ 397 h 661"/>
                <a:gd name="T66" fmla="*/ 373 w 453"/>
                <a:gd name="T67" fmla="*/ 364 h 661"/>
                <a:gd name="T68" fmla="*/ 392 w 453"/>
                <a:gd name="T69" fmla="*/ 330 h 661"/>
                <a:gd name="T70" fmla="*/ 399 w 453"/>
                <a:gd name="T71" fmla="*/ 297 h 661"/>
                <a:gd name="T72" fmla="*/ 389 w 453"/>
                <a:gd name="T73" fmla="*/ 267 h 661"/>
                <a:gd name="T74" fmla="*/ 373 w 453"/>
                <a:gd name="T75" fmla="*/ 246 h 661"/>
                <a:gd name="T76" fmla="*/ 343 w 453"/>
                <a:gd name="T77" fmla="*/ 217 h 661"/>
                <a:gd name="T78" fmla="*/ 333 w 453"/>
                <a:gd name="T79" fmla="*/ 192 h 661"/>
                <a:gd name="T80" fmla="*/ 335 w 453"/>
                <a:gd name="T81" fmla="*/ 173 h 661"/>
                <a:gd name="T82" fmla="*/ 353 w 453"/>
                <a:gd name="T83" fmla="*/ 164 h 661"/>
                <a:gd name="T84" fmla="*/ 406 w 453"/>
                <a:gd name="T85" fmla="*/ 162 h 661"/>
                <a:gd name="T86" fmla="*/ 395 w 453"/>
                <a:gd name="T87" fmla="*/ 151 h 661"/>
                <a:gd name="T88" fmla="*/ 379 w 453"/>
                <a:gd name="T89" fmla="*/ 117 h 661"/>
                <a:gd name="T90" fmla="*/ 371 w 453"/>
                <a:gd name="T91" fmla="*/ 73 h 661"/>
                <a:gd name="T92" fmla="*/ 373 w 453"/>
                <a:gd name="T93" fmla="*/ 45 h 661"/>
                <a:gd name="T94" fmla="*/ 367 w 453"/>
                <a:gd name="T95" fmla="*/ 11 h 661"/>
                <a:gd name="T96" fmla="*/ 347 w 453"/>
                <a:gd name="T97" fmla="*/ 0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89" name="Freeform 449"/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6677025" y="3017838"/>
              <a:ext cx="55563" cy="57150"/>
            </a:xfrm>
            <a:custGeom>
              <a:avLst/>
              <a:gdLst>
                <a:gd name="T0" fmla="*/ 0 w 126"/>
                <a:gd name="T1" fmla="*/ 56 h 105"/>
                <a:gd name="T2" fmla="*/ 4 w 126"/>
                <a:gd name="T3" fmla="*/ 49 h 105"/>
                <a:gd name="T4" fmla="*/ 10 w 126"/>
                <a:gd name="T5" fmla="*/ 41 h 105"/>
                <a:gd name="T6" fmla="*/ 16 w 126"/>
                <a:gd name="T7" fmla="*/ 33 h 105"/>
                <a:gd name="T8" fmla="*/ 24 w 126"/>
                <a:gd name="T9" fmla="*/ 25 h 105"/>
                <a:gd name="T10" fmla="*/ 37 w 126"/>
                <a:gd name="T11" fmla="*/ 11 h 105"/>
                <a:gd name="T12" fmla="*/ 47 w 126"/>
                <a:gd name="T13" fmla="*/ 0 h 105"/>
                <a:gd name="T14" fmla="*/ 113 w 126"/>
                <a:gd name="T15" fmla="*/ 0 h 105"/>
                <a:gd name="T16" fmla="*/ 114 w 126"/>
                <a:gd name="T17" fmla="*/ 4 h 105"/>
                <a:gd name="T18" fmla="*/ 115 w 126"/>
                <a:gd name="T19" fmla="*/ 8 h 105"/>
                <a:gd name="T20" fmla="*/ 117 w 126"/>
                <a:gd name="T21" fmla="*/ 12 h 105"/>
                <a:gd name="T22" fmla="*/ 119 w 126"/>
                <a:gd name="T23" fmla="*/ 14 h 105"/>
                <a:gd name="T24" fmla="*/ 124 w 126"/>
                <a:gd name="T25" fmla="*/ 20 h 105"/>
                <a:gd name="T26" fmla="*/ 126 w 126"/>
                <a:gd name="T27" fmla="*/ 24 h 105"/>
                <a:gd name="T28" fmla="*/ 126 w 126"/>
                <a:gd name="T29" fmla="*/ 32 h 105"/>
                <a:gd name="T30" fmla="*/ 125 w 126"/>
                <a:gd name="T31" fmla="*/ 41 h 105"/>
                <a:gd name="T32" fmla="*/ 124 w 126"/>
                <a:gd name="T33" fmla="*/ 48 h 105"/>
                <a:gd name="T34" fmla="*/ 122 w 126"/>
                <a:gd name="T35" fmla="*/ 55 h 105"/>
                <a:gd name="T36" fmla="*/ 119 w 126"/>
                <a:gd name="T37" fmla="*/ 62 h 105"/>
                <a:gd name="T38" fmla="*/ 116 w 126"/>
                <a:gd name="T39" fmla="*/ 69 h 105"/>
                <a:gd name="T40" fmla="*/ 112 w 126"/>
                <a:gd name="T41" fmla="*/ 75 h 105"/>
                <a:gd name="T42" fmla="*/ 108 w 126"/>
                <a:gd name="T43" fmla="*/ 81 h 105"/>
                <a:gd name="T44" fmla="*/ 104 w 126"/>
                <a:gd name="T45" fmla="*/ 86 h 105"/>
                <a:gd name="T46" fmla="*/ 99 w 126"/>
                <a:gd name="T47" fmla="*/ 90 h 105"/>
                <a:gd name="T48" fmla="*/ 93 w 126"/>
                <a:gd name="T49" fmla="*/ 94 h 105"/>
                <a:gd name="T50" fmla="*/ 88 w 126"/>
                <a:gd name="T51" fmla="*/ 99 h 105"/>
                <a:gd name="T52" fmla="*/ 81 w 126"/>
                <a:gd name="T53" fmla="*/ 101 h 105"/>
                <a:gd name="T54" fmla="*/ 74 w 126"/>
                <a:gd name="T55" fmla="*/ 103 h 105"/>
                <a:gd name="T56" fmla="*/ 67 w 126"/>
                <a:gd name="T57" fmla="*/ 105 h 105"/>
                <a:gd name="T58" fmla="*/ 60 w 126"/>
                <a:gd name="T59" fmla="*/ 105 h 105"/>
                <a:gd name="T60" fmla="*/ 48 w 126"/>
                <a:gd name="T61" fmla="*/ 104 h 105"/>
                <a:gd name="T62" fmla="*/ 38 w 126"/>
                <a:gd name="T63" fmla="*/ 102 h 105"/>
                <a:gd name="T64" fmla="*/ 31 w 126"/>
                <a:gd name="T65" fmla="*/ 98 h 105"/>
                <a:gd name="T66" fmla="*/ 24 w 126"/>
                <a:gd name="T67" fmla="*/ 92 h 105"/>
                <a:gd name="T68" fmla="*/ 20 w 126"/>
                <a:gd name="T69" fmla="*/ 86 h 105"/>
                <a:gd name="T70" fmla="*/ 16 w 126"/>
                <a:gd name="T71" fmla="*/ 78 h 105"/>
                <a:gd name="T72" fmla="*/ 14 w 126"/>
                <a:gd name="T73" fmla="*/ 70 h 105"/>
                <a:gd name="T74" fmla="*/ 13 w 126"/>
                <a:gd name="T75" fmla="*/ 62 h 105"/>
                <a:gd name="T76" fmla="*/ 0 w 126"/>
                <a:gd name="T77" fmla="*/ 5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90" name="Freeform 450"/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2032000" y="3281363"/>
              <a:ext cx="298450" cy="523875"/>
            </a:xfrm>
            <a:custGeom>
              <a:avLst/>
              <a:gdLst>
                <a:gd name="T0" fmla="*/ 671 w 684"/>
                <a:gd name="T1" fmla="*/ 573 h 998"/>
                <a:gd name="T2" fmla="*/ 680 w 684"/>
                <a:gd name="T3" fmla="*/ 550 h 998"/>
                <a:gd name="T4" fmla="*/ 671 w 684"/>
                <a:gd name="T5" fmla="*/ 491 h 998"/>
                <a:gd name="T6" fmla="*/ 659 w 684"/>
                <a:gd name="T7" fmla="*/ 423 h 998"/>
                <a:gd name="T8" fmla="*/ 678 w 684"/>
                <a:gd name="T9" fmla="*/ 389 h 998"/>
                <a:gd name="T10" fmla="*/ 557 w 684"/>
                <a:gd name="T11" fmla="*/ 361 h 998"/>
                <a:gd name="T12" fmla="*/ 533 w 684"/>
                <a:gd name="T13" fmla="*/ 326 h 998"/>
                <a:gd name="T14" fmla="*/ 462 w 684"/>
                <a:gd name="T15" fmla="*/ 310 h 998"/>
                <a:gd name="T16" fmla="*/ 402 w 684"/>
                <a:gd name="T17" fmla="*/ 270 h 998"/>
                <a:gd name="T18" fmla="*/ 375 w 684"/>
                <a:gd name="T19" fmla="*/ 201 h 998"/>
                <a:gd name="T20" fmla="*/ 375 w 684"/>
                <a:gd name="T21" fmla="*/ 133 h 998"/>
                <a:gd name="T22" fmla="*/ 395 w 684"/>
                <a:gd name="T23" fmla="*/ 84 h 998"/>
                <a:gd name="T24" fmla="*/ 435 w 684"/>
                <a:gd name="T25" fmla="*/ 48 h 998"/>
                <a:gd name="T26" fmla="*/ 463 w 684"/>
                <a:gd name="T27" fmla="*/ 11 h 998"/>
                <a:gd name="T28" fmla="*/ 389 w 684"/>
                <a:gd name="T29" fmla="*/ 39 h 998"/>
                <a:gd name="T30" fmla="*/ 335 w 684"/>
                <a:gd name="T31" fmla="*/ 68 h 998"/>
                <a:gd name="T32" fmla="*/ 304 w 684"/>
                <a:gd name="T33" fmla="*/ 78 h 998"/>
                <a:gd name="T34" fmla="*/ 278 w 684"/>
                <a:gd name="T35" fmla="*/ 84 h 998"/>
                <a:gd name="T36" fmla="*/ 241 w 684"/>
                <a:gd name="T37" fmla="*/ 81 h 998"/>
                <a:gd name="T38" fmla="*/ 217 w 684"/>
                <a:gd name="T39" fmla="*/ 108 h 998"/>
                <a:gd name="T40" fmla="*/ 196 w 684"/>
                <a:gd name="T41" fmla="*/ 175 h 998"/>
                <a:gd name="T42" fmla="*/ 157 w 684"/>
                <a:gd name="T43" fmla="*/ 227 h 998"/>
                <a:gd name="T44" fmla="*/ 107 w 684"/>
                <a:gd name="T45" fmla="*/ 284 h 998"/>
                <a:gd name="T46" fmla="*/ 90 w 684"/>
                <a:gd name="T47" fmla="*/ 317 h 998"/>
                <a:gd name="T48" fmla="*/ 86 w 684"/>
                <a:gd name="T49" fmla="*/ 356 h 998"/>
                <a:gd name="T50" fmla="*/ 97 w 684"/>
                <a:gd name="T51" fmla="*/ 382 h 998"/>
                <a:gd name="T52" fmla="*/ 97 w 684"/>
                <a:gd name="T53" fmla="*/ 451 h 998"/>
                <a:gd name="T54" fmla="*/ 95 w 684"/>
                <a:gd name="T55" fmla="*/ 525 h 998"/>
                <a:gd name="T56" fmla="*/ 72 w 684"/>
                <a:gd name="T57" fmla="*/ 563 h 998"/>
                <a:gd name="T58" fmla="*/ 37 w 684"/>
                <a:gd name="T59" fmla="*/ 592 h 998"/>
                <a:gd name="T60" fmla="*/ 11 w 684"/>
                <a:gd name="T61" fmla="*/ 612 h 998"/>
                <a:gd name="T62" fmla="*/ 30 w 684"/>
                <a:gd name="T63" fmla="*/ 668 h 998"/>
                <a:gd name="T64" fmla="*/ 123 w 684"/>
                <a:gd name="T65" fmla="*/ 725 h 998"/>
                <a:gd name="T66" fmla="*/ 175 w 684"/>
                <a:gd name="T67" fmla="*/ 728 h 998"/>
                <a:gd name="T68" fmla="*/ 234 w 684"/>
                <a:gd name="T69" fmla="*/ 746 h 998"/>
                <a:gd name="T70" fmla="*/ 299 w 684"/>
                <a:gd name="T71" fmla="*/ 795 h 998"/>
                <a:gd name="T72" fmla="*/ 337 w 684"/>
                <a:gd name="T73" fmla="*/ 850 h 998"/>
                <a:gd name="T74" fmla="*/ 367 w 684"/>
                <a:gd name="T75" fmla="*/ 881 h 998"/>
                <a:gd name="T76" fmla="*/ 412 w 684"/>
                <a:gd name="T77" fmla="*/ 886 h 998"/>
                <a:gd name="T78" fmla="*/ 462 w 684"/>
                <a:gd name="T79" fmla="*/ 876 h 998"/>
                <a:gd name="T80" fmla="*/ 492 w 684"/>
                <a:gd name="T81" fmla="*/ 878 h 998"/>
                <a:gd name="T82" fmla="*/ 515 w 684"/>
                <a:gd name="T83" fmla="*/ 904 h 998"/>
                <a:gd name="T84" fmla="*/ 513 w 684"/>
                <a:gd name="T85" fmla="*/ 922 h 998"/>
                <a:gd name="T86" fmla="*/ 488 w 684"/>
                <a:gd name="T87" fmla="*/ 937 h 998"/>
                <a:gd name="T88" fmla="*/ 488 w 684"/>
                <a:gd name="T89" fmla="*/ 963 h 998"/>
                <a:gd name="T90" fmla="*/ 511 w 684"/>
                <a:gd name="T91" fmla="*/ 994 h 998"/>
                <a:gd name="T92" fmla="*/ 542 w 684"/>
                <a:gd name="T93" fmla="*/ 962 h 998"/>
                <a:gd name="T94" fmla="*/ 566 w 684"/>
                <a:gd name="T95" fmla="*/ 861 h 998"/>
                <a:gd name="T96" fmla="*/ 571 w 684"/>
                <a:gd name="T97" fmla="*/ 803 h 998"/>
                <a:gd name="T98" fmla="*/ 555 w 684"/>
                <a:gd name="T99" fmla="*/ 771 h 998"/>
                <a:gd name="T100" fmla="*/ 523 w 684"/>
                <a:gd name="T101" fmla="*/ 749 h 998"/>
                <a:gd name="T102" fmla="*/ 521 w 684"/>
                <a:gd name="T103" fmla="*/ 723 h 998"/>
                <a:gd name="T104" fmla="*/ 566 w 684"/>
                <a:gd name="T105" fmla="*/ 700 h 998"/>
                <a:gd name="T106" fmla="*/ 556 w 684"/>
                <a:gd name="T107" fmla="*/ 665 h 998"/>
                <a:gd name="T108" fmla="*/ 556 w 684"/>
                <a:gd name="T109" fmla="*/ 649 h 998"/>
                <a:gd name="T110" fmla="*/ 655 w 684"/>
                <a:gd name="T111" fmla="*/ 628 h 9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91" name="Freeform 451"/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4284663" y="3549650"/>
              <a:ext cx="187325" cy="274638"/>
            </a:xfrm>
            <a:custGeom>
              <a:avLst/>
              <a:gdLst>
                <a:gd name="T0" fmla="*/ 429 w 429"/>
                <a:gd name="T1" fmla="*/ 22 h 524"/>
                <a:gd name="T2" fmla="*/ 428 w 429"/>
                <a:gd name="T3" fmla="*/ 43 h 524"/>
                <a:gd name="T4" fmla="*/ 424 w 429"/>
                <a:gd name="T5" fmla="*/ 54 h 524"/>
                <a:gd name="T6" fmla="*/ 415 w 429"/>
                <a:gd name="T7" fmla="*/ 67 h 524"/>
                <a:gd name="T8" fmla="*/ 413 w 429"/>
                <a:gd name="T9" fmla="*/ 81 h 524"/>
                <a:gd name="T10" fmla="*/ 414 w 429"/>
                <a:gd name="T11" fmla="*/ 160 h 524"/>
                <a:gd name="T12" fmla="*/ 408 w 429"/>
                <a:gd name="T13" fmla="*/ 207 h 524"/>
                <a:gd name="T14" fmla="*/ 396 w 429"/>
                <a:gd name="T15" fmla="*/ 241 h 524"/>
                <a:gd name="T16" fmla="*/ 372 w 429"/>
                <a:gd name="T17" fmla="*/ 278 h 524"/>
                <a:gd name="T18" fmla="*/ 338 w 429"/>
                <a:gd name="T19" fmla="*/ 309 h 524"/>
                <a:gd name="T20" fmla="*/ 319 w 429"/>
                <a:gd name="T21" fmla="*/ 333 h 524"/>
                <a:gd name="T22" fmla="*/ 312 w 429"/>
                <a:gd name="T23" fmla="*/ 412 h 524"/>
                <a:gd name="T24" fmla="*/ 304 w 429"/>
                <a:gd name="T25" fmla="*/ 439 h 524"/>
                <a:gd name="T26" fmla="*/ 290 w 429"/>
                <a:gd name="T27" fmla="*/ 448 h 524"/>
                <a:gd name="T28" fmla="*/ 269 w 429"/>
                <a:gd name="T29" fmla="*/ 455 h 524"/>
                <a:gd name="T30" fmla="*/ 253 w 429"/>
                <a:gd name="T31" fmla="*/ 472 h 524"/>
                <a:gd name="T32" fmla="*/ 234 w 429"/>
                <a:gd name="T33" fmla="*/ 500 h 524"/>
                <a:gd name="T34" fmla="*/ 223 w 429"/>
                <a:gd name="T35" fmla="*/ 505 h 524"/>
                <a:gd name="T36" fmla="*/ 201 w 429"/>
                <a:gd name="T37" fmla="*/ 504 h 524"/>
                <a:gd name="T38" fmla="*/ 189 w 429"/>
                <a:gd name="T39" fmla="*/ 498 h 524"/>
                <a:gd name="T40" fmla="*/ 145 w 429"/>
                <a:gd name="T41" fmla="*/ 500 h 524"/>
                <a:gd name="T42" fmla="*/ 123 w 429"/>
                <a:gd name="T43" fmla="*/ 500 h 524"/>
                <a:gd name="T44" fmla="*/ 113 w 429"/>
                <a:gd name="T45" fmla="*/ 494 h 524"/>
                <a:gd name="T46" fmla="*/ 95 w 429"/>
                <a:gd name="T47" fmla="*/ 493 h 524"/>
                <a:gd name="T48" fmla="*/ 78 w 429"/>
                <a:gd name="T49" fmla="*/ 502 h 524"/>
                <a:gd name="T50" fmla="*/ 62 w 429"/>
                <a:gd name="T51" fmla="*/ 519 h 524"/>
                <a:gd name="T52" fmla="*/ 27 w 429"/>
                <a:gd name="T53" fmla="*/ 491 h 524"/>
                <a:gd name="T54" fmla="*/ 6 w 429"/>
                <a:gd name="T55" fmla="*/ 447 h 524"/>
                <a:gd name="T56" fmla="*/ 25 w 429"/>
                <a:gd name="T57" fmla="*/ 430 h 524"/>
                <a:gd name="T58" fmla="*/ 42 w 429"/>
                <a:gd name="T59" fmla="*/ 424 h 524"/>
                <a:gd name="T60" fmla="*/ 61 w 429"/>
                <a:gd name="T61" fmla="*/ 428 h 524"/>
                <a:gd name="T62" fmla="*/ 58 w 429"/>
                <a:gd name="T63" fmla="*/ 418 h 524"/>
                <a:gd name="T64" fmla="*/ 45 w 429"/>
                <a:gd name="T65" fmla="*/ 386 h 524"/>
                <a:gd name="T66" fmla="*/ 47 w 429"/>
                <a:gd name="T67" fmla="*/ 366 h 524"/>
                <a:gd name="T68" fmla="*/ 57 w 429"/>
                <a:gd name="T69" fmla="*/ 356 h 524"/>
                <a:gd name="T70" fmla="*/ 71 w 429"/>
                <a:gd name="T71" fmla="*/ 352 h 524"/>
                <a:gd name="T72" fmla="*/ 89 w 429"/>
                <a:gd name="T73" fmla="*/ 337 h 524"/>
                <a:gd name="T74" fmla="*/ 104 w 429"/>
                <a:gd name="T75" fmla="*/ 333 h 524"/>
                <a:gd name="T76" fmla="*/ 115 w 429"/>
                <a:gd name="T77" fmla="*/ 342 h 524"/>
                <a:gd name="T78" fmla="*/ 135 w 429"/>
                <a:gd name="T79" fmla="*/ 359 h 524"/>
                <a:gd name="T80" fmla="*/ 154 w 429"/>
                <a:gd name="T81" fmla="*/ 351 h 524"/>
                <a:gd name="T82" fmla="*/ 181 w 429"/>
                <a:gd name="T83" fmla="*/ 353 h 524"/>
                <a:gd name="T84" fmla="*/ 199 w 429"/>
                <a:gd name="T85" fmla="*/ 340 h 524"/>
                <a:gd name="T86" fmla="*/ 210 w 429"/>
                <a:gd name="T87" fmla="*/ 315 h 524"/>
                <a:gd name="T88" fmla="*/ 213 w 429"/>
                <a:gd name="T89" fmla="*/ 290 h 524"/>
                <a:gd name="T90" fmla="*/ 215 w 429"/>
                <a:gd name="T91" fmla="*/ 269 h 524"/>
                <a:gd name="T92" fmla="*/ 201 w 429"/>
                <a:gd name="T93" fmla="*/ 236 h 524"/>
                <a:gd name="T94" fmla="*/ 188 w 429"/>
                <a:gd name="T95" fmla="*/ 203 h 524"/>
                <a:gd name="T96" fmla="*/ 207 w 429"/>
                <a:gd name="T97" fmla="*/ 177 h 524"/>
                <a:gd name="T98" fmla="*/ 210 w 429"/>
                <a:gd name="T99" fmla="*/ 164 h 524"/>
                <a:gd name="T100" fmla="*/ 200 w 429"/>
                <a:gd name="T101" fmla="*/ 155 h 524"/>
                <a:gd name="T102" fmla="*/ 197 w 429"/>
                <a:gd name="T103" fmla="*/ 137 h 524"/>
                <a:gd name="T104" fmla="*/ 188 w 429"/>
                <a:gd name="T105" fmla="*/ 129 h 524"/>
                <a:gd name="T106" fmla="*/ 161 w 429"/>
                <a:gd name="T107" fmla="*/ 132 h 524"/>
                <a:gd name="T108" fmla="*/ 137 w 429"/>
                <a:gd name="T109" fmla="*/ 131 h 524"/>
                <a:gd name="T110" fmla="*/ 125 w 429"/>
                <a:gd name="T111" fmla="*/ 119 h 524"/>
                <a:gd name="T112" fmla="*/ 123 w 429"/>
                <a:gd name="T113" fmla="*/ 103 h 524"/>
                <a:gd name="T114" fmla="*/ 132 w 429"/>
                <a:gd name="T115" fmla="*/ 76 h 524"/>
                <a:gd name="T116" fmla="*/ 306 w 429"/>
                <a:gd name="T117" fmla="*/ 38 h 524"/>
                <a:gd name="T118" fmla="*/ 323 w 429"/>
                <a:gd name="T119" fmla="*/ 17 h 524"/>
                <a:gd name="T120" fmla="*/ 343 w 429"/>
                <a:gd name="T121" fmla="*/ 7 h 524"/>
                <a:gd name="T122" fmla="*/ 374 w 429"/>
                <a:gd name="T123" fmla="*/ 5 h 524"/>
                <a:gd name="T124" fmla="*/ 408 w 429"/>
                <a:gd name="T125" fmla="*/ 4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92" name="Freeform 452"/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4316413" y="2192338"/>
              <a:ext cx="127000" cy="114300"/>
            </a:xfrm>
            <a:custGeom>
              <a:avLst/>
              <a:gdLst>
                <a:gd name="T0" fmla="*/ 259 w 292"/>
                <a:gd name="T1" fmla="*/ 93 h 223"/>
                <a:gd name="T2" fmla="*/ 166 w 292"/>
                <a:gd name="T3" fmla="*/ 77 h 223"/>
                <a:gd name="T4" fmla="*/ 152 w 292"/>
                <a:gd name="T5" fmla="*/ 79 h 223"/>
                <a:gd name="T6" fmla="*/ 139 w 292"/>
                <a:gd name="T7" fmla="*/ 79 h 223"/>
                <a:gd name="T8" fmla="*/ 126 w 292"/>
                <a:gd name="T9" fmla="*/ 77 h 223"/>
                <a:gd name="T10" fmla="*/ 119 w 292"/>
                <a:gd name="T11" fmla="*/ 93 h 223"/>
                <a:gd name="T12" fmla="*/ 144 w 292"/>
                <a:gd name="T13" fmla="*/ 131 h 223"/>
                <a:gd name="T14" fmla="*/ 168 w 292"/>
                <a:gd name="T15" fmla="*/ 157 h 223"/>
                <a:gd name="T16" fmla="*/ 189 w 292"/>
                <a:gd name="T17" fmla="*/ 185 h 223"/>
                <a:gd name="T18" fmla="*/ 197 w 292"/>
                <a:gd name="T19" fmla="*/ 202 h 223"/>
                <a:gd name="T20" fmla="*/ 205 w 292"/>
                <a:gd name="T21" fmla="*/ 222 h 223"/>
                <a:gd name="T22" fmla="*/ 175 w 292"/>
                <a:gd name="T23" fmla="*/ 223 h 223"/>
                <a:gd name="T24" fmla="*/ 161 w 292"/>
                <a:gd name="T25" fmla="*/ 222 h 223"/>
                <a:gd name="T26" fmla="*/ 146 w 292"/>
                <a:gd name="T27" fmla="*/ 216 h 223"/>
                <a:gd name="T28" fmla="*/ 134 w 292"/>
                <a:gd name="T29" fmla="*/ 209 h 223"/>
                <a:gd name="T30" fmla="*/ 127 w 292"/>
                <a:gd name="T31" fmla="*/ 198 h 223"/>
                <a:gd name="T32" fmla="*/ 121 w 292"/>
                <a:gd name="T33" fmla="*/ 187 h 223"/>
                <a:gd name="T34" fmla="*/ 113 w 292"/>
                <a:gd name="T35" fmla="*/ 180 h 223"/>
                <a:gd name="T36" fmla="*/ 91 w 292"/>
                <a:gd name="T37" fmla="*/ 145 h 223"/>
                <a:gd name="T38" fmla="*/ 68 w 292"/>
                <a:gd name="T39" fmla="*/ 113 h 223"/>
                <a:gd name="T40" fmla="*/ 55 w 292"/>
                <a:gd name="T41" fmla="*/ 99 h 223"/>
                <a:gd name="T42" fmla="*/ 42 w 292"/>
                <a:gd name="T43" fmla="*/ 87 h 223"/>
                <a:gd name="T44" fmla="*/ 27 w 292"/>
                <a:gd name="T45" fmla="*/ 79 h 223"/>
                <a:gd name="T46" fmla="*/ 13 w 292"/>
                <a:gd name="T47" fmla="*/ 75 h 223"/>
                <a:gd name="T48" fmla="*/ 4 w 292"/>
                <a:gd name="T49" fmla="*/ 65 h 223"/>
                <a:gd name="T50" fmla="*/ 1 w 292"/>
                <a:gd name="T51" fmla="*/ 58 h 223"/>
                <a:gd name="T52" fmla="*/ 0 w 292"/>
                <a:gd name="T53" fmla="*/ 49 h 223"/>
                <a:gd name="T54" fmla="*/ 40 w 292"/>
                <a:gd name="T55" fmla="*/ 55 h 223"/>
                <a:gd name="T56" fmla="*/ 70 w 292"/>
                <a:gd name="T57" fmla="*/ 55 h 223"/>
                <a:gd name="T58" fmla="*/ 91 w 292"/>
                <a:gd name="T59" fmla="*/ 50 h 223"/>
                <a:gd name="T60" fmla="*/ 106 w 292"/>
                <a:gd name="T61" fmla="*/ 41 h 223"/>
                <a:gd name="T62" fmla="*/ 127 w 292"/>
                <a:gd name="T63" fmla="*/ 20 h 223"/>
                <a:gd name="T64" fmla="*/ 138 w 292"/>
                <a:gd name="T65" fmla="*/ 9 h 223"/>
                <a:gd name="T66" fmla="*/ 152 w 292"/>
                <a:gd name="T67" fmla="*/ 0 h 223"/>
                <a:gd name="T68" fmla="*/ 172 w 292"/>
                <a:gd name="T69" fmla="*/ 14 h 223"/>
                <a:gd name="T70" fmla="*/ 194 w 292"/>
                <a:gd name="T71" fmla="*/ 26 h 223"/>
                <a:gd name="T72" fmla="*/ 218 w 292"/>
                <a:gd name="T73" fmla="*/ 34 h 223"/>
                <a:gd name="T74" fmla="*/ 246 w 292"/>
                <a:gd name="T75" fmla="*/ 37 h 223"/>
                <a:gd name="T76" fmla="*/ 262 w 292"/>
                <a:gd name="T77" fmla="*/ 34 h 223"/>
                <a:gd name="T78" fmla="*/ 279 w 292"/>
                <a:gd name="T79" fmla="*/ 31 h 223"/>
                <a:gd name="T80" fmla="*/ 285 w 292"/>
                <a:gd name="T81" fmla="*/ 47 h 223"/>
                <a:gd name="T82" fmla="*/ 287 w 292"/>
                <a:gd name="T83" fmla="*/ 49 h 223"/>
                <a:gd name="T84" fmla="*/ 292 w 292"/>
                <a:gd name="T85" fmla="*/ 69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93" name="Freeform 453"/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4267200" y="2051050"/>
              <a:ext cx="168275" cy="77788"/>
            </a:xfrm>
            <a:custGeom>
              <a:avLst/>
              <a:gdLst>
                <a:gd name="T0" fmla="*/ 375 w 379"/>
                <a:gd name="T1" fmla="*/ 94 h 147"/>
                <a:gd name="T2" fmla="*/ 360 w 379"/>
                <a:gd name="T3" fmla="*/ 101 h 147"/>
                <a:gd name="T4" fmla="*/ 354 w 379"/>
                <a:gd name="T5" fmla="*/ 108 h 147"/>
                <a:gd name="T6" fmla="*/ 347 w 379"/>
                <a:gd name="T7" fmla="*/ 117 h 147"/>
                <a:gd name="T8" fmla="*/ 333 w 379"/>
                <a:gd name="T9" fmla="*/ 127 h 147"/>
                <a:gd name="T10" fmla="*/ 320 w 379"/>
                <a:gd name="T11" fmla="*/ 131 h 147"/>
                <a:gd name="T12" fmla="*/ 311 w 379"/>
                <a:gd name="T13" fmla="*/ 132 h 147"/>
                <a:gd name="T14" fmla="*/ 301 w 379"/>
                <a:gd name="T15" fmla="*/ 130 h 147"/>
                <a:gd name="T16" fmla="*/ 291 w 379"/>
                <a:gd name="T17" fmla="*/ 126 h 147"/>
                <a:gd name="T18" fmla="*/ 281 w 379"/>
                <a:gd name="T19" fmla="*/ 119 h 147"/>
                <a:gd name="T20" fmla="*/ 275 w 379"/>
                <a:gd name="T21" fmla="*/ 116 h 147"/>
                <a:gd name="T22" fmla="*/ 269 w 379"/>
                <a:gd name="T23" fmla="*/ 118 h 147"/>
                <a:gd name="T24" fmla="*/ 267 w 379"/>
                <a:gd name="T25" fmla="*/ 123 h 147"/>
                <a:gd name="T26" fmla="*/ 266 w 379"/>
                <a:gd name="T27" fmla="*/ 140 h 147"/>
                <a:gd name="T28" fmla="*/ 257 w 379"/>
                <a:gd name="T29" fmla="*/ 145 h 147"/>
                <a:gd name="T30" fmla="*/ 244 w 379"/>
                <a:gd name="T31" fmla="*/ 140 h 147"/>
                <a:gd name="T32" fmla="*/ 229 w 379"/>
                <a:gd name="T33" fmla="*/ 131 h 147"/>
                <a:gd name="T34" fmla="*/ 113 w 379"/>
                <a:gd name="T35" fmla="*/ 141 h 147"/>
                <a:gd name="T36" fmla="*/ 80 w 379"/>
                <a:gd name="T37" fmla="*/ 124 h 147"/>
                <a:gd name="T38" fmla="*/ 58 w 379"/>
                <a:gd name="T39" fmla="*/ 109 h 147"/>
                <a:gd name="T40" fmla="*/ 45 w 379"/>
                <a:gd name="T41" fmla="*/ 94 h 147"/>
                <a:gd name="T42" fmla="*/ 37 w 379"/>
                <a:gd name="T43" fmla="*/ 82 h 147"/>
                <a:gd name="T44" fmla="*/ 26 w 379"/>
                <a:gd name="T45" fmla="*/ 59 h 147"/>
                <a:gd name="T46" fmla="*/ 16 w 379"/>
                <a:gd name="T47" fmla="*/ 48 h 147"/>
                <a:gd name="T48" fmla="*/ 0 w 379"/>
                <a:gd name="T49" fmla="*/ 36 h 147"/>
                <a:gd name="T50" fmla="*/ 29 w 379"/>
                <a:gd name="T51" fmla="*/ 40 h 147"/>
                <a:gd name="T52" fmla="*/ 52 w 379"/>
                <a:gd name="T53" fmla="*/ 38 h 147"/>
                <a:gd name="T54" fmla="*/ 72 w 379"/>
                <a:gd name="T55" fmla="*/ 33 h 147"/>
                <a:gd name="T56" fmla="*/ 87 w 379"/>
                <a:gd name="T57" fmla="*/ 25 h 147"/>
                <a:gd name="T58" fmla="*/ 119 w 379"/>
                <a:gd name="T59" fmla="*/ 8 h 147"/>
                <a:gd name="T60" fmla="*/ 138 w 379"/>
                <a:gd name="T61" fmla="*/ 2 h 147"/>
                <a:gd name="T62" fmla="*/ 159 w 379"/>
                <a:gd name="T63" fmla="*/ 0 h 147"/>
                <a:gd name="T64" fmla="*/ 200 w 379"/>
                <a:gd name="T65" fmla="*/ 23 h 147"/>
                <a:gd name="T66" fmla="*/ 244 w 379"/>
                <a:gd name="T67" fmla="*/ 45 h 147"/>
                <a:gd name="T68" fmla="*/ 292 w 379"/>
                <a:gd name="T69" fmla="*/ 67 h 147"/>
                <a:gd name="T70" fmla="*/ 333 w 379"/>
                <a:gd name="T71" fmla="*/ 80 h 147"/>
                <a:gd name="T72" fmla="*/ 354 w 379"/>
                <a:gd name="T73" fmla="*/ 86 h 147"/>
                <a:gd name="T74" fmla="*/ 379 w 379"/>
                <a:gd name="T75" fmla="*/ 9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94" name="Freeform 454"/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4230688" y="1906588"/>
              <a:ext cx="30162" cy="603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9 h 67"/>
                <a:gd name="T4" fmla="*/ 0 w 61"/>
                <a:gd name="T5" fmla="*/ 18 h 67"/>
                <a:gd name="T6" fmla="*/ 1 w 61"/>
                <a:gd name="T7" fmla="*/ 24 h 67"/>
                <a:gd name="T8" fmla="*/ 2 w 61"/>
                <a:gd name="T9" fmla="*/ 30 h 67"/>
                <a:gd name="T10" fmla="*/ 3 w 61"/>
                <a:gd name="T11" fmla="*/ 36 h 67"/>
                <a:gd name="T12" fmla="*/ 6 w 61"/>
                <a:gd name="T13" fmla="*/ 42 h 67"/>
                <a:gd name="T14" fmla="*/ 12 w 61"/>
                <a:gd name="T15" fmla="*/ 55 h 67"/>
                <a:gd name="T16" fmla="*/ 21 w 61"/>
                <a:gd name="T17" fmla="*/ 67 h 67"/>
                <a:gd name="T18" fmla="*/ 28 w 61"/>
                <a:gd name="T19" fmla="*/ 65 h 67"/>
                <a:gd name="T20" fmla="*/ 35 w 61"/>
                <a:gd name="T21" fmla="*/ 61 h 67"/>
                <a:gd name="T22" fmla="*/ 42 w 61"/>
                <a:gd name="T23" fmla="*/ 58 h 67"/>
                <a:gd name="T24" fmla="*/ 48 w 61"/>
                <a:gd name="T25" fmla="*/ 53 h 67"/>
                <a:gd name="T26" fmla="*/ 53 w 61"/>
                <a:gd name="T27" fmla="*/ 47 h 67"/>
                <a:gd name="T28" fmla="*/ 57 w 61"/>
                <a:gd name="T29" fmla="*/ 40 h 67"/>
                <a:gd name="T30" fmla="*/ 59 w 61"/>
                <a:gd name="T31" fmla="*/ 32 h 67"/>
                <a:gd name="T32" fmla="*/ 61 w 61"/>
                <a:gd name="T33" fmla="*/ 24 h 67"/>
                <a:gd name="T34" fmla="*/ 53 w 61"/>
                <a:gd name="T35" fmla="*/ 14 h 67"/>
                <a:gd name="T36" fmla="*/ 41 w 61"/>
                <a:gd name="T37" fmla="*/ 0 h 67"/>
                <a:gd name="T38" fmla="*/ 28 w 61"/>
                <a:gd name="T39" fmla="*/ 3 h 67"/>
                <a:gd name="T40" fmla="*/ 18 w 61"/>
                <a:gd name="T41" fmla="*/ 4 h 67"/>
                <a:gd name="T42" fmla="*/ 13 w 61"/>
                <a:gd name="T43" fmla="*/ 4 h 67"/>
                <a:gd name="T44" fmla="*/ 10 w 61"/>
                <a:gd name="T45" fmla="*/ 3 h 67"/>
                <a:gd name="T46" fmla="*/ 6 w 61"/>
                <a:gd name="T47" fmla="*/ 2 h 67"/>
                <a:gd name="T48" fmla="*/ 0 w 61"/>
                <a:gd name="T4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95" name="Freeform 455"/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4202113" y="1911350"/>
              <a:ext cx="25400" cy="58738"/>
            </a:xfrm>
            <a:custGeom>
              <a:avLst/>
              <a:gdLst>
                <a:gd name="T0" fmla="*/ 0 w 60"/>
                <a:gd name="T1" fmla="*/ 6 h 55"/>
                <a:gd name="T2" fmla="*/ 0 w 60"/>
                <a:gd name="T3" fmla="*/ 24 h 55"/>
                <a:gd name="T4" fmla="*/ 5 w 60"/>
                <a:gd name="T5" fmla="*/ 32 h 55"/>
                <a:gd name="T6" fmla="*/ 10 w 60"/>
                <a:gd name="T7" fmla="*/ 40 h 55"/>
                <a:gd name="T8" fmla="*/ 16 w 60"/>
                <a:gd name="T9" fmla="*/ 45 h 55"/>
                <a:gd name="T10" fmla="*/ 21 w 60"/>
                <a:gd name="T11" fmla="*/ 49 h 55"/>
                <a:gd name="T12" fmla="*/ 27 w 60"/>
                <a:gd name="T13" fmla="*/ 52 h 55"/>
                <a:gd name="T14" fmla="*/ 33 w 60"/>
                <a:gd name="T15" fmla="*/ 54 h 55"/>
                <a:gd name="T16" fmla="*/ 40 w 60"/>
                <a:gd name="T17" fmla="*/ 55 h 55"/>
                <a:gd name="T18" fmla="*/ 46 w 60"/>
                <a:gd name="T19" fmla="*/ 55 h 55"/>
                <a:gd name="T20" fmla="*/ 53 w 60"/>
                <a:gd name="T21" fmla="*/ 52 h 55"/>
                <a:gd name="T22" fmla="*/ 60 w 60"/>
                <a:gd name="T23" fmla="*/ 49 h 55"/>
                <a:gd name="T24" fmla="*/ 50 w 60"/>
                <a:gd name="T25" fmla="*/ 34 h 55"/>
                <a:gd name="T26" fmla="*/ 42 w 60"/>
                <a:gd name="T27" fmla="*/ 22 h 55"/>
                <a:gd name="T28" fmla="*/ 39 w 60"/>
                <a:gd name="T29" fmla="*/ 17 h 55"/>
                <a:gd name="T30" fmla="*/ 35 w 60"/>
                <a:gd name="T31" fmla="*/ 12 h 55"/>
                <a:gd name="T32" fmla="*/ 34 w 60"/>
                <a:gd name="T33" fmla="*/ 6 h 55"/>
                <a:gd name="T34" fmla="*/ 33 w 60"/>
                <a:gd name="T35" fmla="*/ 0 h 55"/>
                <a:gd name="T36" fmla="*/ 23 w 60"/>
                <a:gd name="T37" fmla="*/ 1 h 55"/>
                <a:gd name="T38" fmla="*/ 15 w 60"/>
                <a:gd name="T39" fmla="*/ 3 h 55"/>
                <a:gd name="T40" fmla="*/ 7 w 60"/>
                <a:gd name="T41" fmla="*/ 5 h 55"/>
                <a:gd name="T42" fmla="*/ 0 w 60"/>
                <a:gd name="T43" fmla="*/ 6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96" name="Freeform 456"/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4171950" y="1857375"/>
              <a:ext cx="52388" cy="77788"/>
            </a:xfrm>
            <a:custGeom>
              <a:avLst/>
              <a:gdLst>
                <a:gd name="T0" fmla="*/ 74 w 120"/>
                <a:gd name="T1" fmla="*/ 129 h 148"/>
                <a:gd name="T2" fmla="*/ 70 w 120"/>
                <a:gd name="T3" fmla="*/ 131 h 148"/>
                <a:gd name="T4" fmla="*/ 67 w 120"/>
                <a:gd name="T5" fmla="*/ 132 h 148"/>
                <a:gd name="T6" fmla="*/ 64 w 120"/>
                <a:gd name="T7" fmla="*/ 133 h 148"/>
                <a:gd name="T8" fmla="*/ 60 w 120"/>
                <a:gd name="T9" fmla="*/ 133 h 148"/>
                <a:gd name="T10" fmla="*/ 56 w 120"/>
                <a:gd name="T11" fmla="*/ 133 h 148"/>
                <a:gd name="T12" fmla="*/ 53 w 120"/>
                <a:gd name="T13" fmla="*/ 132 h 148"/>
                <a:gd name="T14" fmla="*/ 50 w 120"/>
                <a:gd name="T15" fmla="*/ 131 h 148"/>
                <a:gd name="T16" fmla="*/ 47 w 120"/>
                <a:gd name="T17" fmla="*/ 129 h 148"/>
                <a:gd name="T18" fmla="*/ 41 w 120"/>
                <a:gd name="T19" fmla="*/ 128 h 148"/>
                <a:gd name="T20" fmla="*/ 34 w 120"/>
                <a:gd name="T21" fmla="*/ 125 h 148"/>
                <a:gd name="T22" fmla="*/ 26 w 120"/>
                <a:gd name="T23" fmla="*/ 120 h 148"/>
                <a:gd name="T24" fmla="*/ 19 w 120"/>
                <a:gd name="T25" fmla="*/ 115 h 148"/>
                <a:gd name="T26" fmla="*/ 11 w 120"/>
                <a:gd name="T27" fmla="*/ 108 h 148"/>
                <a:gd name="T28" fmla="*/ 6 w 120"/>
                <a:gd name="T29" fmla="*/ 101 h 148"/>
                <a:gd name="T30" fmla="*/ 3 w 120"/>
                <a:gd name="T31" fmla="*/ 97 h 148"/>
                <a:gd name="T32" fmla="*/ 2 w 120"/>
                <a:gd name="T33" fmla="*/ 94 h 148"/>
                <a:gd name="T34" fmla="*/ 1 w 120"/>
                <a:gd name="T35" fmla="*/ 90 h 148"/>
                <a:gd name="T36" fmla="*/ 0 w 120"/>
                <a:gd name="T37" fmla="*/ 87 h 148"/>
                <a:gd name="T38" fmla="*/ 2 w 120"/>
                <a:gd name="T39" fmla="*/ 73 h 148"/>
                <a:gd name="T40" fmla="*/ 8 w 120"/>
                <a:gd name="T41" fmla="*/ 55 h 148"/>
                <a:gd name="T42" fmla="*/ 14 w 120"/>
                <a:gd name="T43" fmla="*/ 35 h 148"/>
                <a:gd name="T44" fmla="*/ 20 w 120"/>
                <a:gd name="T45" fmla="*/ 18 h 148"/>
                <a:gd name="T46" fmla="*/ 32 w 120"/>
                <a:gd name="T47" fmla="*/ 17 h 148"/>
                <a:gd name="T48" fmla="*/ 42 w 120"/>
                <a:gd name="T49" fmla="*/ 16 h 148"/>
                <a:gd name="T50" fmla="*/ 51 w 120"/>
                <a:gd name="T51" fmla="*/ 14 h 148"/>
                <a:gd name="T52" fmla="*/ 58 w 120"/>
                <a:gd name="T53" fmla="*/ 11 h 148"/>
                <a:gd name="T54" fmla="*/ 70 w 120"/>
                <a:gd name="T55" fmla="*/ 5 h 148"/>
                <a:gd name="T56" fmla="*/ 80 w 120"/>
                <a:gd name="T57" fmla="*/ 0 h 148"/>
                <a:gd name="T58" fmla="*/ 85 w 120"/>
                <a:gd name="T59" fmla="*/ 2 h 148"/>
                <a:gd name="T60" fmla="*/ 93 w 120"/>
                <a:gd name="T61" fmla="*/ 7 h 148"/>
                <a:gd name="T62" fmla="*/ 98 w 120"/>
                <a:gd name="T63" fmla="*/ 10 h 148"/>
                <a:gd name="T64" fmla="*/ 102 w 120"/>
                <a:gd name="T65" fmla="*/ 13 h 148"/>
                <a:gd name="T66" fmla="*/ 106 w 120"/>
                <a:gd name="T67" fmla="*/ 16 h 148"/>
                <a:gd name="T68" fmla="*/ 107 w 120"/>
                <a:gd name="T69" fmla="*/ 18 h 148"/>
                <a:gd name="T70" fmla="*/ 100 w 120"/>
                <a:gd name="T71" fmla="*/ 28 h 148"/>
                <a:gd name="T72" fmla="*/ 93 w 120"/>
                <a:gd name="T73" fmla="*/ 37 h 148"/>
                <a:gd name="T74" fmla="*/ 95 w 120"/>
                <a:gd name="T75" fmla="*/ 42 h 148"/>
                <a:gd name="T76" fmla="*/ 98 w 120"/>
                <a:gd name="T77" fmla="*/ 49 h 148"/>
                <a:gd name="T78" fmla="*/ 102 w 120"/>
                <a:gd name="T79" fmla="*/ 56 h 148"/>
                <a:gd name="T80" fmla="*/ 107 w 120"/>
                <a:gd name="T81" fmla="*/ 63 h 148"/>
                <a:gd name="T82" fmla="*/ 115 w 120"/>
                <a:gd name="T83" fmla="*/ 75 h 148"/>
                <a:gd name="T84" fmla="*/ 120 w 120"/>
                <a:gd name="T85" fmla="*/ 79 h 148"/>
                <a:gd name="T86" fmla="*/ 113 w 120"/>
                <a:gd name="T87" fmla="*/ 81 h 148"/>
                <a:gd name="T88" fmla="*/ 107 w 120"/>
                <a:gd name="T89" fmla="*/ 84 h 148"/>
                <a:gd name="T90" fmla="*/ 100 w 120"/>
                <a:gd name="T91" fmla="*/ 87 h 148"/>
                <a:gd name="T92" fmla="*/ 96 w 120"/>
                <a:gd name="T93" fmla="*/ 91 h 148"/>
                <a:gd name="T94" fmla="*/ 90 w 120"/>
                <a:gd name="T95" fmla="*/ 95 h 148"/>
                <a:gd name="T96" fmla="*/ 87 w 120"/>
                <a:gd name="T97" fmla="*/ 99 h 148"/>
                <a:gd name="T98" fmla="*/ 82 w 120"/>
                <a:gd name="T99" fmla="*/ 104 h 148"/>
                <a:gd name="T100" fmla="*/ 80 w 120"/>
                <a:gd name="T101" fmla="*/ 109 h 148"/>
                <a:gd name="T102" fmla="*/ 78 w 120"/>
                <a:gd name="T103" fmla="*/ 114 h 148"/>
                <a:gd name="T104" fmla="*/ 77 w 120"/>
                <a:gd name="T105" fmla="*/ 120 h 148"/>
                <a:gd name="T106" fmla="*/ 76 w 120"/>
                <a:gd name="T107" fmla="*/ 125 h 148"/>
                <a:gd name="T108" fmla="*/ 75 w 120"/>
                <a:gd name="T109" fmla="*/ 130 h 148"/>
                <a:gd name="T110" fmla="*/ 76 w 120"/>
                <a:gd name="T111" fmla="*/ 135 h 148"/>
                <a:gd name="T112" fmla="*/ 77 w 120"/>
                <a:gd name="T113" fmla="*/ 140 h 148"/>
                <a:gd name="T114" fmla="*/ 78 w 120"/>
                <a:gd name="T115" fmla="*/ 144 h 148"/>
                <a:gd name="T116" fmla="*/ 80 w 120"/>
                <a:gd name="T117" fmla="*/ 148 h 148"/>
                <a:gd name="T118" fmla="*/ 74 w 120"/>
                <a:gd name="T119" fmla="*/ 12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97" name="Freeform 457"/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4603750" y="2662238"/>
              <a:ext cx="273050" cy="307975"/>
            </a:xfrm>
            <a:custGeom>
              <a:avLst/>
              <a:gdLst>
                <a:gd name="T0" fmla="*/ 21 w 631"/>
                <a:gd name="T1" fmla="*/ 2 h 592"/>
                <a:gd name="T2" fmla="*/ 32 w 631"/>
                <a:gd name="T3" fmla="*/ 4 h 592"/>
                <a:gd name="T4" fmla="*/ 54 w 631"/>
                <a:gd name="T5" fmla="*/ 8 h 592"/>
                <a:gd name="T6" fmla="*/ 78 w 631"/>
                <a:gd name="T7" fmla="*/ 11 h 592"/>
                <a:gd name="T8" fmla="*/ 104 w 631"/>
                <a:gd name="T9" fmla="*/ 19 h 592"/>
                <a:gd name="T10" fmla="*/ 130 w 631"/>
                <a:gd name="T11" fmla="*/ 32 h 592"/>
                <a:gd name="T12" fmla="*/ 146 w 631"/>
                <a:gd name="T13" fmla="*/ 40 h 592"/>
                <a:gd name="T14" fmla="*/ 159 w 631"/>
                <a:gd name="T15" fmla="*/ 43 h 592"/>
                <a:gd name="T16" fmla="*/ 189 w 631"/>
                <a:gd name="T17" fmla="*/ 43 h 592"/>
                <a:gd name="T18" fmla="*/ 227 w 631"/>
                <a:gd name="T19" fmla="*/ 37 h 592"/>
                <a:gd name="T20" fmla="*/ 277 w 631"/>
                <a:gd name="T21" fmla="*/ 23 h 592"/>
                <a:gd name="T22" fmla="*/ 399 w 631"/>
                <a:gd name="T23" fmla="*/ 38 h 592"/>
                <a:gd name="T24" fmla="*/ 403 w 631"/>
                <a:gd name="T25" fmla="*/ 69 h 592"/>
                <a:gd name="T26" fmla="*/ 410 w 631"/>
                <a:gd name="T27" fmla="*/ 95 h 592"/>
                <a:gd name="T28" fmla="*/ 417 w 631"/>
                <a:gd name="T29" fmla="*/ 119 h 592"/>
                <a:gd name="T30" fmla="*/ 427 w 631"/>
                <a:gd name="T31" fmla="*/ 140 h 592"/>
                <a:gd name="T32" fmla="*/ 450 w 631"/>
                <a:gd name="T33" fmla="*/ 175 h 592"/>
                <a:gd name="T34" fmla="*/ 472 w 631"/>
                <a:gd name="T35" fmla="*/ 204 h 592"/>
                <a:gd name="T36" fmla="*/ 482 w 631"/>
                <a:gd name="T37" fmla="*/ 222 h 592"/>
                <a:gd name="T38" fmla="*/ 485 w 631"/>
                <a:gd name="T39" fmla="*/ 240 h 592"/>
                <a:gd name="T40" fmla="*/ 491 w 631"/>
                <a:gd name="T41" fmla="*/ 255 h 592"/>
                <a:gd name="T42" fmla="*/ 496 w 631"/>
                <a:gd name="T43" fmla="*/ 261 h 592"/>
                <a:gd name="T44" fmla="*/ 505 w 631"/>
                <a:gd name="T45" fmla="*/ 266 h 592"/>
                <a:gd name="T46" fmla="*/ 513 w 631"/>
                <a:gd name="T47" fmla="*/ 270 h 592"/>
                <a:gd name="T48" fmla="*/ 519 w 631"/>
                <a:gd name="T49" fmla="*/ 278 h 592"/>
                <a:gd name="T50" fmla="*/ 533 w 631"/>
                <a:gd name="T51" fmla="*/ 303 h 592"/>
                <a:gd name="T52" fmla="*/ 541 w 631"/>
                <a:gd name="T53" fmla="*/ 331 h 592"/>
                <a:gd name="T54" fmla="*/ 545 w 631"/>
                <a:gd name="T55" fmla="*/ 358 h 592"/>
                <a:gd name="T56" fmla="*/ 548 w 631"/>
                <a:gd name="T57" fmla="*/ 368 h 592"/>
                <a:gd name="T58" fmla="*/ 557 w 631"/>
                <a:gd name="T59" fmla="*/ 381 h 592"/>
                <a:gd name="T60" fmla="*/ 583 w 631"/>
                <a:gd name="T61" fmla="*/ 415 h 592"/>
                <a:gd name="T62" fmla="*/ 612 w 631"/>
                <a:gd name="T63" fmla="*/ 447 h 592"/>
                <a:gd name="T64" fmla="*/ 631 w 631"/>
                <a:gd name="T65" fmla="*/ 463 h 592"/>
                <a:gd name="T66" fmla="*/ 612 w 631"/>
                <a:gd name="T67" fmla="*/ 481 h 592"/>
                <a:gd name="T68" fmla="*/ 624 w 631"/>
                <a:gd name="T69" fmla="*/ 496 h 592"/>
                <a:gd name="T70" fmla="*/ 626 w 631"/>
                <a:gd name="T71" fmla="*/ 507 h 592"/>
                <a:gd name="T72" fmla="*/ 626 w 631"/>
                <a:gd name="T73" fmla="*/ 516 h 592"/>
                <a:gd name="T74" fmla="*/ 631 w 631"/>
                <a:gd name="T75" fmla="*/ 531 h 592"/>
                <a:gd name="T76" fmla="*/ 626 w 631"/>
                <a:gd name="T77" fmla="*/ 539 h 592"/>
                <a:gd name="T78" fmla="*/ 617 w 631"/>
                <a:gd name="T79" fmla="*/ 548 h 592"/>
                <a:gd name="T80" fmla="*/ 592 w 631"/>
                <a:gd name="T81" fmla="*/ 569 h 592"/>
                <a:gd name="T82" fmla="*/ 558 w 631"/>
                <a:gd name="T83" fmla="*/ 592 h 592"/>
                <a:gd name="T84" fmla="*/ 46 w 631"/>
                <a:gd name="T85" fmla="*/ 174 h 592"/>
                <a:gd name="T86" fmla="*/ 25 w 631"/>
                <a:gd name="T87" fmla="*/ 157 h 592"/>
                <a:gd name="T88" fmla="*/ 11 w 631"/>
                <a:gd name="T89" fmla="*/ 138 h 592"/>
                <a:gd name="T90" fmla="*/ 2 w 631"/>
                <a:gd name="T91" fmla="*/ 117 h 592"/>
                <a:gd name="T92" fmla="*/ 0 w 631"/>
                <a:gd name="T93" fmla="*/ 93 h 592"/>
                <a:gd name="T94" fmla="*/ 3 w 631"/>
                <a:gd name="T95" fmla="*/ 89 h 592"/>
                <a:gd name="T96" fmla="*/ 10 w 631"/>
                <a:gd name="T97" fmla="*/ 83 h 592"/>
                <a:gd name="T98" fmla="*/ 17 w 631"/>
                <a:gd name="T99" fmla="*/ 77 h 592"/>
                <a:gd name="T100" fmla="*/ 20 w 631"/>
                <a:gd name="T101" fmla="*/ 69 h 592"/>
                <a:gd name="T102" fmla="*/ 18 w 631"/>
                <a:gd name="T103" fmla="*/ 53 h 592"/>
                <a:gd name="T104" fmla="*/ 13 w 631"/>
                <a:gd name="T105" fmla="*/ 42 h 592"/>
                <a:gd name="T106" fmla="*/ 9 w 631"/>
                <a:gd name="T107" fmla="*/ 34 h 592"/>
                <a:gd name="T108" fmla="*/ 7 w 631"/>
                <a:gd name="T109" fmla="*/ 26 h 592"/>
                <a:gd name="T110" fmla="*/ 13 w 631"/>
                <a:gd name="T111" fmla="*/ 0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98" name="Freeform 458"/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4198938" y="2297113"/>
              <a:ext cx="17462" cy="57150"/>
            </a:xfrm>
            <a:custGeom>
              <a:avLst/>
              <a:gdLst>
                <a:gd name="T0" fmla="*/ 7 w 40"/>
                <a:gd name="T1" fmla="*/ 31 h 93"/>
                <a:gd name="T2" fmla="*/ 10 w 40"/>
                <a:gd name="T3" fmla="*/ 30 h 93"/>
                <a:gd name="T4" fmla="*/ 14 w 40"/>
                <a:gd name="T5" fmla="*/ 26 h 93"/>
                <a:gd name="T6" fmla="*/ 20 w 40"/>
                <a:gd name="T7" fmla="*/ 20 h 93"/>
                <a:gd name="T8" fmla="*/ 25 w 40"/>
                <a:gd name="T9" fmla="*/ 15 h 93"/>
                <a:gd name="T10" fmla="*/ 35 w 40"/>
                <a:gd name="T11" fmla="*/ 4 h 93"/>
                <a:gd name="T12" fmla="*/ 40 w 40"/>
                <a:gd name="T13" fmla="*/ 0 h 93"/>
                <a:gd name="T14" fmla="*/ 37 w 40"/>
                <a:gd name="T15" fmla="*/ 26 h 93"/>
                <a:gd name="T16" fmla="*/ 35 w 40"/>
                <a:gd name="T17" fmla="*/ 53 h 93"/>
                <a:gd name="T18" fmla="*/ 34 w 40"/>
                <a:gd name="T19" fmla="*/ 65 h 93"/>
                <a:gd name="T20" fmla="*/ 34 w 40"/>
                <a:gd name="T21" fmla="*/ 77 h 93"/>
                <a:gd name="T22" fmla="*/ 35 w 40"/>
                <a:gd name="T23" fmla="*/ 82 h 93"/>
                <a:gd name="T24" fmla="*/ 36 w 40"/>
                <a:gd name="T25" fmla="*/ 86 h 93"/>
                <a:gd name="T26" fmla="*/ 37 w 40"/>
                <a:gd name="T27" fmla="*/ 90 h 93"/>
                <a:gd name="T28" fmla="*/ 40 w 40"/>
                <a:gd name="T29" fmla="*/ 93 h 93"/>
                <a:gd name="T30" fmla="*/ 26 w 40"/>
                <a:gd name="T31" fmla="*/ 93 h 93"/>
                <a:gd name="T32" fmla="*/ 13 w 40"/>
                <a:gd name="T33" fmla="*/ 93 h 93"/>
                <a:gd name="T34" fmla="*/ 11 w 40"/>
                <a:gd name="T35" fmla="*/ 92 h 93"/>
                <a:gd name="T36" fmla="*/ 8 w 40"/>
                <a:gd name="T37" fmla="*/ 91 h 93"/>
                <a:gd name="T38" fmla="*/ 6 w 40"/>
                <a:gd name="T39" fmla="*/ 88 h 93"/>
                <a:gd name="T40" fmla="*/ 4 w 40"/>
                <a:gd name="T41" fmla="*/ 86 h 93"/>
                <a:gd name="T42" fmla="*/ 1 w 40"/>
                <a:gd name="T43" fmla="*/ 80 h 93"/>
                <a:gd name="T44" fmla="*/ 0 w 40"/>
                <a:gd name="T45" fmla="*/ 73 h 93"/>
                <a:gd name="T46" fmla="*/ 1 w 40"/>
                <a:gd name="T47" fmla="*/ 64 h 93"/>
                <a:gd name="T48" fmla="*/ 3 w 40"/>
                <a:gd name="T49" fmla="*/ 50 h 93"/>
                <a:gd name="T50" fmla="*/ 6 w 40"/>
                <a:gd name="T51" fmla="*/ 37 h 93"/>
                <a:gd name="T52" fmla="*/ 7 w 40"/>
                <a:gd name="T53" fmla="*/ 3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99" name="Freeform 459"/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3883025" y="2047875"/>
              <a:ext cx="295275" cy="273050"/>
            </a:xfrm>
            <a:custGeom>
              <a:avLst/>
              <a:gdLst>
                <a:gd name="T0" fmla="*/ 149 w 664"/>
                <a:gd name="T1" fmla="*/ 445 h 518"/>
                <a:gd name="T2" fmla="*/ 151 w 664"/>
                <a:gd name="T3" fmla="*/ 431 h 518"/>
                <a:gd name="T4" fmla="*/ 146 w 664"/>
                <a:gd name="T5" fmla="*/ 400 h 518"/>
                <a:gd name="T6" fmla="*/ 151 w 664"/>
                <a:gd name="T7" fmla="*/ 353 h 518"/>
                <a:gd name="T8" fmla="*/ 146 w 664"/>
                <a:gd name="T9" fmla="*/ 298 h 518"/>
                <a:gd name="T10" fmla="*/ 134 w 664"/>
                <a:gd name="T11" fmla="*/ 251 h 518"/>
                <a:gd name="T12" fmla="*/ 109 w 664"/>
                <a:gd name="T13" fmla="*/ 241 h 518"/>
                <a:gd name="T14" fmla="*/ 20 w 664"/>
                <a:gd name="T15" fmla="*/ 192 h 518"/>
                <a:gd name="T16" fmla="*/ 24 w 664"/>
                <a:gd name="T17" fmla="*/ 171 h 518"/>
                <a:gd name="T18" fmla="*/ 36 w 664"/>
                <a:gd name="T19" fmla="*/ 159 h 518"/>
                <a:gd name="T20" fmla="*/ 48 w 664"/>
                <a:gd name="T21" fmla="*/ 148 h 518"/>
                <a:gd name="T22" fmla="*/ 100 w 664"/>
                <a:gd name="T23" fmla="*/ 155 h 518"/>
                <a:gd name="T24" fmla="*/ 125 w 664"/>
                <a:gd name="T25" fmla="*/ 152 h 518"/>
                <a:gd name="T26" fmla="*/ 147 w 664"/>
                <a:gd name="T27" fmla="*/ 157 h 518"/>
                <a:gd name="T28" fmla="*/ 165 w 664"/>
                <a:gd name="T29" fmla="*/ 94 h 518"/>
                <a:gd name="T30" fmla="*/ 185 w 664"/>
                <a:gd name="T31" fmla="*/ 109 h 518"/>
                <a:gd name="T32" fmla="*/ 207 w 664"/>
                <a:gd name="T33" fmla="*/ 110 h 518"/>
                <a:gd name="T34" fmla="*/ 236 w 664"/>
                <a:gd name="T35" fmla="*/ 99 h 518"/>
                <a:gd name="T36" fmla="*/ 264 w 664"/>
                <a:gd name="T37" fmla="*/ 80 h 518"/>
                <a:gd name="T38" fmla="*/ 289 w 664"/>
                <a:gd name="T39" fmla="*/ 57 h 518"/>
                <a:gd name="T40" fmla="*/ 308 w 664"/>
                <a:gd name="T41" fmla="*/ 32 h 518"/>
                <a:gd name="T42" fmla="*/ 318 w 664"/>
                <a:gd name="T43" fmla="*/ 12 h 518"/>
                <a:gd name="T44" fmla="*/ 370 w 664"/>
                <a:gd name="T45" fmla="*/ 4 h 518"/>
                <a:gd name="T46" fmla="*/ 404 w 664"/>
                <a:gd name="T47" fmla="*/ 32 h 518"/>
                <a:gd name="T48" fmla="*/ 457 w 664"/>
                <a:gd name="T49" fmla="*/ 61 h 518"/>
                <a:gd name="T50" fmla="*/ 511 w 664"/>
                <a:gd name="T51" fmla="*/ 90 h 518"/>
                <a:gd name="T52" fmla="*/ 552 w 664"/>
                <a:gd name="T53" fmla="*/ 107 h 518"/>
                <a:gd name="T54" fmla="*/ 578 w 664"/>
                <a:gd name="T55" fmla="*/ 116 h 518"/>
                <a:gd name="T56" fmla="*/ 623 w 664"/>
                <a:gd name="T57" fmla="*/ 121 h 518"/>
                <a:gd name="T58" fmla="*/ 658 w 664"/>
                <a:gd name="T59" fmla="*/ 136 h 518"/>
                <a:gd name="T60" fmla="*/ 645 w 664"/>
                <a:gd name="T61" fmla="*/ 166 h 518"/>
                <a:gd name="T62" fmla="*/ 620 w 664"/>
                <a:gd name="T63" fmla="*/ 236 h 518"/>
                <a:gd name="T64" fmla="*/ 598 w 664"/>
                <a:gd name="T65" fmla="*/ 272 h 518"/>
                <a:gd name="T66" fmla="*/ 585 w 664"/>
                <a:gd name="T67" fmla="*/ 286 h 518"/>
                <a:gd name="T68" fmla="*/ 599 w 664"/>
                <a:gd name="T69" fmla="*/ 298 h 518"/>
                <a:gd name="T70" fmla="*/ 618 w 664"/>
                <a:gd name="T71" fmla="*/ 307 h 518"/>
                <a:gd name="T72" fmla="*/ 623 w 664"/>
                <a:gd name="T73" fmla="*/ 334 h 518"/>
                <a:gd name="T74" fmla="*/ 620 w 664"/>
                <a:gd name="T75" fmla="*/ 347 h 518"/>
                <a:gd name="T76" fmla="*/ 618 w 664"/>
                <a:gd name="T77" fmla="*/ 372 h 518"/>
                <a:gd name="T78" fmla="*/ 622 w 664"/>
                <a:gd name="T79" fmla="*/ 399 h 518"/>
                <a:gd name="T80" fmla="*/ 632 w 664"/>
                <a:gd name="T81" fmla="*/ 423 h 518"/>
                <a:gd name="T82" fmla="*/ 608 w 664"/>
                <a:gd name="T83" fmla="*/ 457 h 518"/>
                <a:gd name="T84" fmla="*/ 569 w 664"/>
                <a:gd name="T85" fmla="*/ 484 h 518"/>
                <a:gd name="T86" fmla="*/ 542 w 664"/>
                <a:gd name="T87" fmla="*/ 489 h 518"/>
                <a:gd name="T88" fmla="*/ 509 w 664"/>
                <a:gd name="T89" fmla="*/ 481 h 518"/>
                <a:gd name="T90" fmla="*/ 477 w 664"/>
                <a:gd name="T91" fmla="*/ 460 h 518"/>
                <a:gd name="T92" fmla="*/ 463 w 664"/>
                <a:gd name="T93" fmla="*/ 456 h 518"/>
                <a:gd name="T94" fmla="*/ 443 w 664"/>
                <a:gd name="T95" fmla="*/ 457 h 518"/>
                <a:gd name="T96" fmla="*/ 423 w 664"/>
                <a:gd name="T97" fmla="*/ 465 h 518"/>
                <a:gd name="T98" fmla="*/ 406 w 664"/>
                <a:gd name="T99" fmla="*/ 477 h 518"/>
                <a:gd name="T100" fmla="*/ 388 w 664"/>
                <a:gd name="T101" fmla="*/ 503 h 518"/>
                <a:gd name="T102" fmla="*/ 385 w 664"/>
                <a:gd name="T103" fmla="*/ 517 h 518"/>
                <a:gd name="T104" fmla="*/ 333 w 664"/>
                <a:gd name="T105" fmla="*/ 515 h 518"/>
                <a:gd name="T106" fmla="*/ 317 w 664"/>
                <a:gd name="T107" fmla="*/ 507 h 518"/>
                <a:gd name="T108" fmla="*/ 307 w 664"/>
                <a:gd name="T109" fmla="*/ 500 h 518"/>
                <a:gd name="T110" fmla="*/ 296 w 664"/>
                <a:gd name="T111" fmla="*/ 508 h 518"/>
                <a:gd name="T112" fmla="*/ 287 w 664"/>
                <a:gd name="T113" fmla="*/ 516 h 518"/>
                <a:gd name="T114" fmla="*/ 268 w 664"/>
                <a:gd name="T115" fmla="*/ 516 h 518"/>
                <a:gd name="T116" fmla="*/ 227 w 664"/>
                <a:gd name="T117" fmla="*/ 506 h 518"/>
                <a:gd name="T118" fmla="*/ 185 w 664"/>
                <a:gd name="T119" fmla="*/ 487 h 518"/>
                <a:gd name="T120" fmla="*/ 160 w 664"/>
                <a:gd name="T121" fmla="*/ 469 h 518"/>
                <a:gd name="T122" fmla="*/ 146 w 664"/>
                <a:gd name="T123" fmla="*/ 45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00" name="Freeform 460"/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4919663" y="2282825"/>
              <a:ext cx="150812" cy="82550"/>
            </a:xfrm>
            <a:custGeom>
              <a:avLst/>
              <a:gdLst>
                <a:gd name="T0" fmla="*/ 332 w 352"/>
                <a:gd name="T1" fmla="*/ 91 h 153"/>
                <a:gd name="T2" fmla="*/ 352 w 352"/>
                <a:gd name="T3" fmla="*/ 153 h 153"/>
                <a:gd name="T4" fmla="*/ 326 w 352"/>
                <a:gd name="T5" fmla="*/ 141 h 153"/>
                <a:gd name="T6" fmla="*/ 299 w 352"/>
                <a:gd name="T7" fmla="*/ 129 h 153"/>
                <a:gd name="T8" fmla="*/ 266 w 352"/>
                <a:gd name="T9" fmla="*/ 141 h 153"/>
                <a:gd name="T10" fmla="*/ 232 w 352"/>
                <a:gd name="T11" fmla="*/ 141 h 153"/>
                <a:gd name="T12" fmla="*/ 227 w 352"/>
                <a:gd name="T13" fmla="*/ 135 h 153"/>
                <a:gd name="T14" fmla="*/ 226 w 352"/>
                <a:gd name="T15" fmla="*/ 135 h 153"/>
                <a:gd name="T16" fmla="*/ 219 w 352"/>
                <a:gd name="T17" fmla="*/ 129 h 153"/>
                <a:gd name="T18" fmla="*/ 213 w 352"/>
                <a:gd name="T19" fmla="*/ 125 h 153"/>
                <a:gd name="T20" fmla="*/ 205 w 352"/>
                <a:gd name="T21" fmla="*/ 121 h 153"/>
                <a:gd name="T22" fmla="*/ 197 w 352"/>
                <a:gd name="T23" fmla="*/ 118 h 153"/>
                <a:gd name="T24" fmla="*/ 181 w 352"/>
                <a:gd name="T25" fmla="*/ 113 h 153"/>
                <a:gd name="T26" fmla="*/ 163 w 352"/>
                <a:gd name="T27" fmla="*/ 110 h 153"/>
                <a:gd name="T28" fmla="*/ 126 w 352"/>
                <a:gd name="T29" fmla="*/ 107 h 153"/>
                <a:gd name="T30" fmla="*/ 86 w 352"/>
                <a:gd name="T31" fmla="*/ 104 h 153"/>
                <a:gd name="T32" fmla="*/ 85 w 352"/>
                <a:gd name="T33" fmla="*/ 94 h 153"/>
                <a:gd name="T34" fmla="*/ 82 w 352"/>
                <a:gd name="T35" fmla="*/ 84 h 153"/>
                <a:gd name="T36" fmla="*/ 80 w 352"/>
                <a:gd name="T37" fmla="*/ 75 h 153"/>
                <a:gd name="T38" fmla="*/ 75 w 352"/>
                <a:gd name="T39" fmla="*/ 67 h 153"/>
                <a:gd name="T40" fmla="*/ 71 w 352"/>
                <a:gd name="T41" fmla="*/ 59 h 153"/>
                <a:gd name="T42" fmla="*/ 67 w 352"/>
                <a:gd name="T43" fmla="*/ 52 h 153"/>
                <a:gd name="T44" fmla="*/ 61 w 352"/>
                <a:gd name="T45" fmla="*/ 44 h 153"/>
                <a:gd name="T46" fmla="*/ 56 w 352"/>
                <a:gd name="T47" fmla="*/ 37 h 153"/>
                <a:gd name="T48" fmla="*/ 44 w 352"/>
                <a:gd name="T49" fmla="*/ 26 h 153"/>
                <a:gd name="T50" fmla="*/ 29 w 352"/>
                <a:gd name="T51" fmla="*/ 16 h 153"/>
                <a:gd name="T52" fmla="*/ 15 w 352"/>
                <a:gd name="T53" fmla="*/ 7 h 153"/>
                <a:gd name="T54" fmla="*/ 0 w 352"/>
                <a:gd name="T55" fmla="*/ 0 h 153"/>
                <a:gd name="T56" fmla="*/ 7 w 352"/>
                <a:gd name="T57" fmla="*/ 0 h 153"/>
                <a:gd name="T58" fmla="*/ 60 w 352"/>
                <a:gd name="T59" fmla="*/ 18 h 153"/>
                <a:gd name="T60" fmla="*/ 106 w 352"/>
                <a:gd name="T61" fmla="*/ 30 h 153"/>
                <a:gd name="T62" fmla="*/ 134 w 352"/>
                <a:gd name="T63" fmla="*/ 18 h 153"/>
                <a:gd name="T64" fmla="*/ 180 w 352"/>
                <a:gd name="T65" fmla="*/ 36 h 153"/>
                <a:gd name="T66" fmla="*/ 206 w 352"/>
                <a:gd name="T67" fmla="*/ 55 h 153"/>
                <a:gd name="T68" fmla="*/ 246 w 352"/>
                <a:gd name="T69" fmla="*/ 49 h 153"/>
                <a:gd name="T70" fmla="*/ 286 w 352"/>
                <a:gd name="T71" fmla="*/ 61 h 153"/>
                <a:gd name="T72" fmla="*/ 313 w 352"/>
                <a:gd name="T73" fmla="*/ 79 h 153"/>
                <a:gd name="T74" fmla="*/ 332 w 352"/>
                <a:gd name="T75" fmla="*/ 9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01" name="Freeform 461"/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4468813" y="2343150"/>
              <a:ext cx="147637" cy="173038"/>
            </a:xfrm>
            <a:custGeom>
              <a:avLst/>
              <a:gdLst>
                <a:gd name="T0" fmla="*/ 230 w 331"/>
                <a:gd name="T1" fmla="*/ 40 h 327"/>
                <a:gd name="T2" fmla="*/ 193 w 331"/>
                <a:gd name="T3" fmla="*/ 56 h 327"/>
                <a:gd name="T4" fmla="*/ 182 w 331"/>
                <a:gd name="T5" fmla="*/ 67 h 327"/>
                <a:gd name="T6" fmla="*/ 181 w 331"/>
                <a:gd name="T7" fmla="*/ 81 h 327"/>
                <a:gd name="T8" fmla="*/ 184 w 331"/>
                <a:gd name="T9" fmla="*/ 94 h 327"/>
                <a:gd name="T10" fmla="*/ 177 w 331"/>
                <a:gd name="T11" fmla="*/ 102 h 327"/>
                <a:gd name="T12" fmla="*/ 168 w 331"/>
                <a:gd name="T13" fmla="*/ 105 h 327"/>
                <a:gd name="T14" fmla="*/ 160 w 331"/>
                <a:gd name="T15" fmla="*/ 98 h 327"/>
                <a:gd name="T16" fmla="*/ 149 w 331"/>
                <a:gd name="T17" fmla="*/ 85 h 327"/>
                <a:gd name="T18" fmla="*/ 126 w 331"/>
                <a:gd name="T19" fmla="*/ 74 h 327"/>
                <a:gd name="T20" fmla="*/ 127 w 331"/>
                <a:gd name="T21" fmla="*/ 96 h 327"/>
                <a:gd name="T22" fmla="*/ 139 w 331"/>
                <a:gd name="T23" fmla="*/ 116 h 327"/>
                <a:gd name="T24" fmla="*/ 154 w 331"/>
                <a:gd name="T25" fmla="*/ 129 h 327"/>
                <a:gd name="T26" fmla="*/ 159 w 331"/>
                <a:gd name="T27" fmla="*/ 130 h 327"/>
                <a:gd name="T28" fmla="*/ 159 w 331"/>
                <a:gd name="T29" fmla="*/ 177 h 327"/>
                <a:gd name="T30" fmla="*/ 159 w 331"/>
                <a:gd name="T31" fmla="*/ 237 h 327"/>
                <a:gd name="T32" fmla="*/ 156 w 331"/>
                <a:gd name="T33" fmla="*/ 251 h 327"/>
                <a:gd name="T34" fmla="*/ 147 w 331"/>
                <a:gd name="T35" fmla="*/ 259 h 327"/>
                <a:gd name="T36" fmla="*/ 145 w 331"/>
                <a:gd name="T37" fmla="*/ 264 h 327"/>
                <a:gd name="T38" fmla="*/ 162 w 331"/>
                <a:gd name="T39" fmla="*/ 276 h 327"/>
                <a:gd name="T40" fmla="*/ 167 w 331"/>
                <a:gd name="T41" fmla="*/ 286 h 327"/>
                <a:gd name="T42" fmla="*/ 155 w 331"/>
                <a:gd name="T43" fmla="*/ 295 h 327"/>
                <a:gd name="T44" fmla="*/ 140 w 331"/>
                <a:gd name="T45" fmla="*/ 297 h 327"/>
                <a:gd name="T46" fmla="*/ 130 w 331"/>
                <a:gd name="T47" fmla="*/ 307 h 327"/>
                <a:gd name="T48" fmla="*/ 126 w 331"/>
                <a:gd name="T49" fmla="*/ 321 h 327"/>
                <a:gd name="T50" fmla="*/ 121 w 331"/>
                <a:gd name="T51" fmla="*/ 300 h 327"/>
                <a:gd name="T52" fmla="*/ 124 w 331"/>
                <a:gd name="T53" fmla="*/ 288 h 327"/>
                <a:gd name="T54" fmla="*/ 109 w 331"/>
                <a:gd name="T55" fmla="*/ 286 h 327"/>
                <a:gd name="T56" fmla="*/ 93 w 331"/>
                <a:gd name="T57" fmla="*/ 292 h 327"/>
                <a:gd name="T58" fmla="*/ 79 w 331"/>
                <a:gd name="T59" fmla="*/ 296 h 327"/>
                <a:gd name="T60" fmla="*/ 73 w 331"/>
                <a:gd name="T61" fmla="*/ 242 h 327"/>
                <a:gd name="T62" fmla="*/ 79 w 331"/>
                <a:gd name="T63" fmla="*/ 216 h 327"/>
                <a:gd name="T64" fmla="*/ 48 w 331"/>
                <a:gd name="T65" fmla="*/ 211 h 327"/>
                <a:gd name="T66" fmla="*/ 28 w 331"/>
                <a:gd name="T67" fmla="*/ 198 h 327"/>
                <a:gd name="T68" fmla="*/ 13 w 331"/>
                <a:gd name="T69" fmla="*/ 173 h 327"/>
                <a:gd name="T70" fmla="*/ 0 w 331"/>
                <a:gd name="T71" fmla="*/ 130 h 327"/>
                <a:gd name="T72" fmla="*/ 28 w 331"/>
                <a:gd name="T73" fmla="*/ 111 h 327"/>
                <a:gd name="T74" fmla="*/ 50 w 331"/>
                <a:gd name="T75" fmla="*/ 81 h 327"/>
                <a:gd name="T76" fmla="*/ 73 w 331"/>
                <a:gd name="T77" fmla="*/ 55 h 327"/>
                <a:gd name="T78" fmla="*/ 115 w 331"/>
                <a:gd name="T79" fmla="*/ 41 h 327"/>
                <a:gd name="T80" fmla="*/ 180 w 331"/>
                <a:gd name="T81" fmla="*/ 14 h 327"/>
                <a:gd name="T82" fmla="*/ 218 w 331"/>
                <a:gd name="T83" fmla="*/ 7 h 327"/>
                <a:gd name="T84" fmla="*/ 249 w 331"/>
                <a:gd name="T85" fmla="*/ 14 h 327"/>
                <a:gd name="T86" fmla="*/ 271 w 331"/>
                <a:gd name="T87" fmla="*/ 27 h 327"/>
                <a:gd name="T88" fmla="*/ 292 w 331"/>
                <a:gd name="T89" fmla="*/ 30 h 327"/>
                <a:gd name="T90" fmla="*/ 307 w 331"/>
                <a:gd name="T91" fmla="*/ 20 h 327"/>
                <a:gd name="T92" fmla="*/ 327 w 331"/>
                <a:gd name="T93" fmla="*/ 6 h 327"/>
                <a:gd name="T94" fmla="*/ 330 w 331"/>
                <a:gd name="T95" fmla="*/ 32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02" name="Freeform 462"/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4552950" y="2535238"/>
              <a:ext cx="69850" cy="57150"/>
            </a:xfrm>
            <a:custGeom>
              <a:avLst/>
              <a:gdLst>
                <a:gd name="T0" fmla="*/ 0 w 153"/>
                <a:gd name="T1" fmla="*/ 0 h 49"/>
                <a:gd name="T2" fmla="*/ 44 w 153"/>
                <a:gd name="T3" fmla="*/ 2 h 49"/>
                <a:gd name="T4" fmla="*/ 83 w 153"/>
                <a:gd name="T5" fmla="*/ 6 h 49"/>
                <a:gd name="T6" fmla="*/ 103 w 153"/>
                <a:gd name="T7" fmla="*/ 8 h 49"/>
                <a:gd name="T8" fmla="*/ 121 w 153"/>
                <a:gd name="T9" fmla="*/ 7 h 49"/>
                <a:gd name="T10" fmla="*/ 130 w 153"/>
                <a:gd name="T11" fmla="*/ 6 h 49"/>
                <a:gd name="T12" fmla="*/ 137 w 153"/>
                <a:gd name="T13" fmla="*/ 5 h 49"/>
                <a:gd name="T14" fmla="*/ 145 w 153"/>
                <a:gd name="T15" fmla="*/ 3 h 49"/>
                <a:gd name="T16" fmla="*/ 153 w 153"/>
                <a:gd name="T17" fmla="*/ 0 h 49"/>
                <a:gd name="T18" fmla="*/ 153 w 153"/>
                <a:gd name="T19" fmla="*/ 9 h 49"/>
                <a:gd name="T20" fmla="*/ 153 w 153"/>
                <a:gd name="T21" fmla="*/ 25 h 49"/>
                <a:gd name="T22" fmla="*/ 143 w 153"/>
                <a:gd name="T23" fmla="*/ 31 h 49"/>
                <a:gd name="T24" fmla="*/ 133 w 153"/>
                <a:gd name="T25" fmla="*/ 36 h 49"/>
                <a:gd name="T26" fmla="*/ 124 w 153"/>
                <a:gd name="T27" fmla="*/ 40 h 49"/>
                <a:gd name="T28" fmla="*/ 114 w 153"/>
                <a:gd name="T29" fmla="*/ 44 h 49"/>
                <a:gd name="T30" fmla="*/ 106 w 153"/>
                <a:gd name="T31" fmla="*/ 46 h 49"/>
                <a:gd name="T32" fmla="*/ 99 w 153"/>
                <a:gd name="T33" fmla="*/ 48 h 49"/>
                <a:gd name="T34" fmla="*/ 92 w 153"/>
                <a:gd name="T35" fmla="*/ 49 h 49"/>
                <a:gd name="T36" fmla="*/ 87 w 153"/>
                <a:gd name="T37" fmla="*/ 49 h 49"/>
                <a:gd name="T38" fmla="*/ 72 w 153"/>
                <a:gd name="T39" fmla="*/ 48 h 49"/>
                <a:gd name="T40" fmla="*/ 60 w 153"/>
                <a:gd name="T41" fmla="*/ 46 h 49"/>
                <a:gd name="T42" fmla="*/ 50 w 153"/>
                <a:gd name="T43" fmla="*/ 43 h 49"/>
                <a:gd name="T44" fmla="*/ 41 w 153"/>
                <a:gd name="T45" fmla="*/ 38 h 49"/>
                <a:gd name="T46" fmla="*/ 22 w 153"/>
                <a:gd name="T47" fmla="*/ 29 h 49"/>
                <a:gd name="T48" fmla="*/ 0 w 153"/>
                <a:gd name="T49" fmla="*/ 19 h 49"/>
                <a:gd name="T50" fmla="*/ 0 w 153"/>
                <a:gd name="T5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03" name="Freeform 463"/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3632200" y="3267075"/>
              <a:ext cx="187325" cy="158750"/>
            </a:xfrm>
            <a:custGeom>
              <a:avLst/>
              <a:gdLst>
                <a:gd name="T0" fmla="*/ 194 w 426"/>
                <a:gd name="T1" fmla="*/ 16 h 299"/>
                <a:gd name="T2" fmla="*/ 216 w 426"/>
                <a:gd name="T3" fmla="*/ 22 h 299"/>
                <a:gd name="T4" fmla="*/ 230 w 426"/>
                <a:gd name="T5" fmla="*/ 29 h 299"/>
                <a:gd name="T6" fmla="*/ 253 w 426"/>
                <a:gd name="T7" fmla="*/ 35 h 299"/>
                <a:gd name="T8" fmla="*/ 279 w 426"/>
                <a:gd name="T9" fmla="*/ 37 h 299"/>
                <a:gd name="T10" fmla="*/ 300 w 426"/>
                <a:gd name="T11" fmla="*/ 37 h 299"/>
                <a:gd name="T12" fmla="*/ 319 w 426"/>
                <a:gd name="T13" fmla="*/ 34 h 299"/>
                <a:gd name="T14" fmla="*/ 329 w 426"/>
                <a:gd name="T15" fmla="*/ 29 h 299"/>
                <a:gd name="T16" fmla="*/ 365 w 426"/>
                <a:gd name="T17" fmla="*/ 25 h 299"/>
                <a:gd name="T18" fmla="*/ 372 w 426"/>
                <a:gd name="T19" fmla="*/ 49 h 299"/>
                <a:gd name="T20" fmla="*/ 383 w 426"/>
                <a:gd name="T21" fmla="*/ 74 h 299"/>
                <a:gd name="T22" fmla="*/ 391 w 426"/>
                <a:gd name="T23" fmla="*/ 84 h 299"/>
                <a:gd name="T24" fmla="*/ 400 w 426"/>
                <a:gd name="T25" fmla="*/ 92 h 299"/>
                <a:gd name="T26" fmla="*/ 412 w 426"/>
                <a:gd name="T27" fmla="*/ 97 h 299"/>
                <a:gd name="T28" fmla="*/ 425 w 426"/>
                <a:gd name="T29" fmla="*/ 99 h 299"/>
                <a:gd name="T30" fmla="*/ 425 w 426"/>
                <a:gd name="T31" fmla="*/ 120 h 299"/>
                <a:gd name="T32" fmla="*/ 425 w 426"/>
                <a:gd name="T33" fmla="*/ 142 h 299"/>
                <a:gd name="T34" fmla="*/ 416 w 426"/>
                <a:gd name="T35" fmla="*/ 158 h 299"/>
                <a:gd name="T36" fmla="*/ 412 w 426"/>
                <a:gd name="T37" fmla="*/ 170 h 299"/>
                <a:gd name="T38" fmla="*/ 412 w 426"/>
                <a:gd name="T39" fmla="*/ 181 h 299"/>
                <a:gd name="T40" fmla="*/ 415 w 426"/>
                <a:gd name="T41" fmla="*/ 190 h 299"/>
                <a:gd name="T42" fmla="*/ 423 w 426"/>
                <a:gd name="T43" fmla="*/ 211 h 299"/>
                <a:gd name="T44" fmla="*/ 426 w 426"/>
                <a:gd name="T45" fmla="*/ 226 h 299"/>
                <a:gd name="T46" fmla="*/ 425 w 426"/>
                <a:gd name="T47" fmla="*/ 247 h 299"/>
                <a:gd name="T48" fmla="*/ 426 w 426"/>
                <a:gd name="T49" fmla="*/ 274 h 299"/>
                <a:gd name="T50" fmla="*/ 423 w 426"/>
                <a:gd name="T51" fmla="*/ 285 h 299"/>
                <a:gd name="T52" fmla="*/ 412 w 426"/>
                <a:gd name="T53" fmla="*/ 296 h 299"/>
                <a:gd name="T54" fmla="*/ 380 w 426"/>
                <a:gd name="T55" fmla="*/ 298 h 299"/>
                <a:gd name="T56" fmla="*/ 370 w 426"/>
                <a:gd name="T57" fmla="*/ 299 h 299"/>
                <a:gd name="T58" fmla="*/ 360 w 426"/>
                <a:gd name="T59" fmla="*/ 296 h 299"/>
                <a:gd name="T60" fmla="*/ 351 w 426"/>
                <a:gd name="T61" fmla="*/ 290 h 299"/>
                <a:gd name="T62" fmla="*/ 338 w 426"/>
                <a:gd name="T63" fmla="*/ 278 h 299"/>
                <a:gd name="T64" fmla="*/ 324 w 426"/>
                <a:gd name="T65" fmla="*/ 261 h 299"/>
                <a:gd name="T66" fmla="*/ 311 w 426"/>
                <a:gd name="T67" fmla="*/ 253 h 299"/>
                <a:gd name="T68" fmla="*/ 294 w 426"/>
                <a:gd name="T69" fmla="*/ 251 h 299"/>
                <a:gd name="T70" fmla="*/ 278 w 426"/>
                <a:gd name="T71" fmla="*/ 232 h 299"/>
                <a:gd name="T72" fmla="*/ 274 w 426"/>
                <a:gd name="T73" fmla="*/ 210 h 299"/>
                <a:gd name="T74" fmla="*/ 269 w 426"/>
                <a:gd name="T75" fmla="*/ 197 h 299"/>
                <a:gd name="T76" fmla="*/ 261 w 426"/>
                <a:gd name="T77" fmla="*/ 184 h 299"/>
                <a:gd name="T78" fmla="*/ 251 w 426"/>
                <a:gd name="T79" fmla="*/ 173 h 299"/>
                <a:gd name="T80" fmla="*/ 238 w 426"/>
                <a:gd name="T81" fmla="*/ 165 h 299"/>
                <a:gd name="T82" fmla="*/ 222 w 426"/>
                <a:gd name="T83" fmla="*/ 161 h 299"/>
                <a:gd name="T84" fmla="*/ 204 w 426"/>
                <a:gd name="T85" fmla="*/ 161 h 299"/>
                <a:gd name="T86" fmla="*/ 188 w 426"/>
                <a:gd name="T87" fmla="*/ 163 h 299"/>
                <a:gd name="T88" fmla="*/ 173 w 426"/>
                <a:gd name="T89" fmla="*/ 168 h 299"/>
                <a:gd name="T90" fmla="*/ 160 w 426"/>
                <a:gd name="T91" fmla="*/ 176 h 299"/>
                <a:gd name="T92" fmla="*/ 141 w 426"/>
                <a:gd name="T93" fmla="*/ 191 h 299"/>
                <a:gd name="T94" fmla="*/ 118 w 426"/>
                <a:gd name="T95" fmla="*/ 215 h 299"/>
                <a:gd name="T96" fmla="*/ 105 w 426"/>
                <a:gd name="T97" fmla="*/ 218 h 299"/>
                <a:gd name="T98" fmla="*/ 100 w 426"/>
                <a:gd name="T99" fmla="*/ 201 h 299"/>
                <a:gd name="T100" fmla="*/ 90 w 426"/>
                <a:gd name="T101" fmla="*/ 186 h 299"/>
                <a:gd name="T102" fmla="*/ 76 w 426"/>
                <a:gd name="T103" fmla="*/ 171 h 299"/>
                <a:gd name="T104" fmla="*/ 50 w 426"/>
                <a:gd name="T105" fmla="*/ 153 h 299"/>
                <a:gd name="T106" fmla="*/ 24 w 426"/>
                <a:gd name="T107" fmla="*/ 134 h 299"/>
                <a:gd name="T108" fmla="*/ 8 w 426"/>
                <a:gd name="T109" fmla="*/ 119 h 299"/>
                <a:gd name="T110" fmla="*/ 15 w 426"/>
                <a:gd name="T111" fmla="*/ 101 h 299"/>
                <a:gd name="T112" fmla="*/ 46 w 426"/>
                <a:gd name="T113" fmla="*/ 77 h 299"/>
                <a:gd name="T114" fmla="*/ 75 w 426"/>
                <a:gd name="T115" fmla="*/ 48 h 299"/>
                <a:gd name="T116" fmla="*/ 98 w 426"/>
                <a:gd name="T117" fmla="*/ 17 h 299"/>
                <a:gd name="T118" fmla="*/ 179 w 426"/>
                <a:gd name="T119" fmla="*/ 13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04" name="Freeform 464"/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5676900" y="2530475"/>
              <a:ext cx="692150" cy="874713"/>
            </a:xfrm>
            <a:custGeom>
              <a:avLst/>
              <a:gdLst>
                <a:gd name="T0" fmla="*/ 477 w 1594"/>
                <a:gd name="T1" fmla="*/ 107 h 1670"/>
                <a:gd name="T2" fmla="*/ 485 w 1594"/>
                <a:gd name="T3" fmla="*/ 185 h 1670"/>
                <a:gd name="T4" fmla="*/ 578 w 1594"/>
                <a:gd name="T5" fmla="*/ 287 h 1670"/>
                <a:gd name="T6" fmla="*/ 701 w 1594"/>
                <a:gd name="T7" fmla="*/ 459 h 1670"/>
                <a:gd name="T8" fmla="*/ 795 w 1594"/>
                <a:gd name="T9" fmla="*/ 499 h 1670"/>
                <a:gd name="T10" fmla="*/ 877 w 1594"/>
                <a:gd name="T11" fmla="*/ 493 h 1670"/>
                <a:gd name="T12" fmla="*/ 930 w 1594"/>
                <a:gd name="T13" fmla="*/ 537 h 1670"/>
                <a:gd name="T14" fmla="*/ 1102 w 1594"/>
                <a:gd name="T15" fmla="*/ 567 h 1670"/>
                <a:gd name="T16" fmla="*/ 1121 w 1594"/>
                <a:gd name="T17" fmla="*/ 461 h 1670"/>
                <a:gd name="T18" fmla="*/ 1179 w 1594"/>
                <a:gd name="T19" fmla="*/ 539 h 1670"/>
                <a:gd name="T20" fmla="*/ 1243 w 1594"/>
                <a:gd name="T21" fmla="*/ 561 h 1670"/>
                <a:gd name="T22" fmla="*/ 1299 w 1594"/>
                <a:gd name="T23" fmla="*/ 498 h 1670"/>
                <a:gd name="T24" fmla="*/ 1404 w 1594"/>
                <a:gd name="T25" fmla="*/ 409 h 1670"/>
                <a:gd name="T26" fmla="*/ 1549 w 1594"/>
                <a:gd name="T27" fmla="*/ 428 h 1670"/>
                <a:gd name="T28" fmla="*/ 1579 w 1594"/>
                <a:gd name="T29" fmla="*/ 498 h 1670"/>
                <a:gd name="T30" fmla="*/ 1504 w 1594"/>
                <a:gd name="T31" fmla="*/ 542 h 1670"/>
                <a:gd name="T32" fmla="*/ 1485 w 1594"/>
                <a:gd name="T33" fmla="*/ 679 h 1670"/>
                <a:gd name="T34" fmla="*/ 1429 w 1594"/>
                <a:gd name="T35" fmla="*/ 704 h 1670"/>
                <a:gd name="T36" fmla="*/ 1408 w 1594"/>
                <a:gd name="T37" fmla="*/ 814 h 1670"/>
                <a:gd name="T38" fmla="*/ 1321 w 1594"/>
                <a:gd name="T39" fmla="*/ 754 h 1670"/>
                <a:gd name="T40" fmla="*/ 1323 w 1594"/>
                <a:gd name="T41" fmla="*/ 698 h 1670"/>
                <a:gd name="T42" fmla="*/ 1225 w 1594"/>
                <a:gd name="T43" fmla="*/ 638 h 1670"/>
                <a:gd name="T44" fmla="*/ 1187 w 1594"/>
                <a:gd name="T45" fmla="*/ 588 h 1670"/>
                <a:gd name="T46" fmla="*/ 1131 w 1594"/>
                <a:gd name="T47" fmla="*/ 575 h 1670"/>
                <a:gd name="T48" fmla="*/ 1127 w 1594"/>
                <a:gd name="T49" fmla="*/ 625 h 1670"/>
                <a:gd name="T50" fmla="*/ 1117 w 1594"/>
                <a:gd name="T51" fmla="*/ 683 h 1670"/>
                <a:gd name="T52" fmla="*/ 1160 w 1594"/>
                <a:gd name="T53" fmla="*/ 735 h 1670"/>
                <a:gd name="T54" fmla="*/ 1149 w 1594"/>
                <a:gd name="T55" fmla="*/ 843 h 1670"/>
                <a:gd name="T56" fmla="*/ 1075 w 1594"/>
                <a:gd name="T57" fmla="*/ 864 h 1670"/>
                <a:gd name="T58" fmla="*/ 1049 w 1594"/>
                <a:gd name="T59" fmla="*/ 937 h 1670"/>
                <a:gd name="T60" fmla="*/ 954 w 1594"/>
                <a:gd name="T61" fmla="*/ 1001 h 1670"/>
                <a:gd name="T62" fmla="*/ 912 w 1594"/>
                <a:gd name="T63" fmla="*/ 1050 h 1670"/>
                <a:gd name="T64" fmla="*/ 780 w 1594"/>
                <a:gd name="T65" fmla="*/ 1188 h 1670"/>
                <a:gd name="T66" fmla="*/ 723 w 1594"/>
                <a:gd name="T67" fmla="*/ 1233 h 1670"/>
                <a:gd name="T68" fmla="*/ 744 w 1594"/>
                <a:gd name="T69" fmla="*/ 1344 h 1670"/>
                <a:gd name="T70" fmla="*/ 712 w 1594"/>
                <a:gd name="T71" fmla="*/ 1445 h 1670"/>
                <a:gd name="T72" fmla="*/ 722 w 1594"/>
                <a:gd name="T73" fmla="*/ 1524 h 1670"/>
                <a:gd name="T74" fmla="*/ 693 w 1594"/>
                <a:gd name="T75" fmla="*/ 1576 h 1670"/>
                <a:gd name="T76" fmla="*/ 595 w 1594"/>
                <a:gd name="T77" fmla="*/ 1663 h 1670"/>
                <a:gd name="T78" fmla="*/ 516 w 1594"/>
                <a:gd name="T79" fmla="*/ 1529 h 1670"/>
                <a:gd name="T80" fmla="*/ 419 w 1594"/>
                <a:gd name="T81" fmla="*/ 1334 h 1670"/>
                <a:gd name="T82" fmla="*/ 301 w 1594"/>
                <a:gd name="T83" fmla="*/ 1114 h 1670"/>
                <a:gd name="T84" fmla="*/ 259 w 1594"/>
                <a:gd name="T85" fmla="*/ 861 h 1670"/>
                <a:gd name="T86" fmla="*/ 230 w 1594"/>
                <a:gd name="T87" fmla="*/ 814 h 1670"/>
                <a:gd name="T88" fmla="*/ 164 w 1594"/>
                <a:gd name="T89" fmla="*/ 900 h 1670"/>
                <a:gd name="T90" fmla="*/ 90 w 1594"/>
                <a:gd name="T91" fmla="*/ 876 h 1670"/>
                <a:gd name="T92" fmla="*/ 51 w 1594"/>
                <a:gd name="T93" fmla="*/ 798 h 1670"/>
                <a:gd name="T94" fmla="*/ 30 w 1594"/>
                <a:gd name="T95" fmla="*/ 771 h 1670"/>
                <a:gd name="T96" fmla="*/ 32 w 1594"/>
                <a:gd name="T97" fmla="*/ 708 h 1670"/>
                <a:gd name="T98" fmla="*/ 159 w 1594"/>
                <a:gd name="T99" fmla="*/ 659 h 1670"/>
                <a:gd name="T100" fmla="*/ 92 w 1594"/>
                <a:gd name="T101" fmla="*/ 569 h 1670"/>
                <a:gd name="T102" fmla="*/ 59 w 1594"/>
                <a:gd name="T103" fmla="*/ 500 h 1670"/>
                <a:gd name="T104" fmla="*/ 162 w 1594"/>
                <a:gd name="T105" fmla="*/ 459 h 1670"/>
                <a:gd name="T106" fmla="*/ 270 w 1594"/>
                <a:gd name="T107" fmla="*/ 294 h 1670"/>
                <a:gd name="T108" fmla="*/ 274 w 1594"/>
                <a:gd name="T109" fmla="*/ 230 h 1670"/>
                <a:gd name="T110" fmla="*/ 227 w 1594"/>
                <a:gd name="T111" fmla="*/ 142 h 1670"/>
                <a:gd name="T112" fmla="*/ 322 w 1594"/>
                <a:gd name="T113" fmla="*/ 54 h 1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05" name="Freeform 465"/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3798888" y="3325813"/>
              <a:ext cx="158750" cy="206375"/>
            </a:xfrm>
            <a:custGeom>
              <a:avLst/>
              <a:gdLst>
                <a:gd name="T0" fmla="*/ 53 w 359"/>
                <a:gd name="T1" fmla="*/ 382 h 394"/>
                <a:gd name="T2" fmla="*/ 53 w 359"/>
                <a:gd name="T3" fmla="*/ 358 h 394"/>
                <a:gd name="T4" fmla="*/ 53 w 359"/>
                <a:gd name="T5" fmla="*/ 333 h 394"/>
                <a:gd name="T6" fmla="*/ 50 w 359"/>
                <a:gd name="T7" fmla="*/ 312 h 394"/>
                <a:gd name="T8" fmla="*/ 43 w 359"/>
                <a:gd name="T9" fmla="*/ 293 h 394"/>
                <a:gd name="T10" fmla="*/ 35 w 359"/>
                <a:gd name="T11" fmla="*/ 277 h 394"/>
                <a:gd name="T12" fmla="*/ 13 w 359"/>
                <a:gd name="T13" fmla="*/ 245 h 394"/>
                <a:gd name="T14" fmla="*/ 0 w 359"/>
                <a:gd name="T15" fmla="*/ 185 h 394"/>
                <a:gd name="T16" fmla="*/ 33 w 359"/>
                <a:gd name="T17" fmla="*/ 181 h 394"/>
                <a:gd name="T18" fmla="*/ 40 w 359"/>
                <a:gd name="T19" fmla="*/ 169 h 394"/>
                <a:gd name="T20" fmla="*/ 41 w 359"/>
                <a:gd name="T21" fmla="*/ 150 h 394"/>
                <a:gd name="T22" fmla="*/ 38 w 359"/>
                <a:gd name="T23" fmla="*/ 107 h 394"/>
                <a:gd name="T24" fmla="*/ 31 w 359"/>
                <a:gd name="T25" fmla="*/ 65 h 394"/>
                <a:gd name="T26" fmla="*/ 32 w 359"/>
                <a:gd name="T27" fmla="*/ 47 h 394"/>
                <a:gd name="T28" fmla="*/ 36 w 359"/>
                <a:gd name="T29" fmla="*/ 36 h 394"/>
                <a:gd name="T30" fmla="*/ 120 w 359"/>
                <a:gd name="T31" fmla="*/ 31 h 394"/>
                <a:gd name="T32" fmla="*/ 122 w 359"/>
                <a:gd name="T33" fmla="*/ 22 h 394"/>
                <a:gd name="T34" fmla="*/ 128 w 359"/>
                <a:gd name="T35" fmla="*/ 14 h 394"/>
                <a:gd name="T36" fmla="*/ 140 w 359"/>
                <a:gd name="T37" fmla="*/ 0 h 394"/>
                <a:gd name="T38" fmla="*/ 142 w 359"/>
                <a:gd name="T39" fmla="*/ 18 h 394"/>
                <a:gd name="T40" fmla="*/ 142 w 359"/>
                <a:gd name="T41" fmla="*/ 26 h 394"/>
                <a:gd name="T42" fmla="*/ 140 w 359"/>
                <a:gd name="T43" fmla="*/ 31 h 394"/>
                <a:gd name="T44" fmla="*/ 168 w 359"/>
                <a:gd name="T45" fmla="*/ 31 h 394"/>
                <a:gd name="T46" fmla="*/ 186 w 359"/>
                <a:gd name="T47" fmla="*/ 31 h 394"/>
                <a:gd name="T48" fmla="*/ 214 w 359"/>
                <a:gd name="T49" fmla="*/ 38 h 394"/>
                <a:gd name="T50" fmla="*/ 233 w 359"/>
                <a:gd name="T51" fmla="*/ 49 h 394"/>
                <a:gd name="T52" fmla="*/ 246 w 359"/>
                <a:gd name="T53" fmla="*/ 58 h 394"/>
                <a:gd name="T54" fmla="*/ 259 w 359"/>
                <a:gd name="T55" fmla="*/ 61 h 394"/>
                <a:gd name="T56" fmla="*/ 268 w 359"/>
                <a:gd name="T57" fmla="*/ 59 h 394"/>
                <a:gd name="T58" fmla="*/ 275 w 359"/>
                <a:gd name="T59" fmla="*/ 54 h 394"/>
                <a:gd name="T60" fmla="*/ 286 w 359"/>
                <a:gd name="T61" fmla="*/ 37 h 394"/>
                <a:gd name="T62" fmla="*/ 312 w 359"/>
                <a:gd name="T63" fmla="*/ 52 h 394"/>
                <a:gd name="T64" fmla="*/ 325 w 359"/>
                <a:gd name="T65" fmla="*/ 59 h 394"/>
                <a:gd name="T66" fmla="*/ 338 w 359"/>
                <a:gd name="T67" fmla="*/ 61 h 394"/>
                <a:gd name="T68" fmla="*/ 353 w 359"/>
                <a:gd name="T69" fmla="*/ 161 h 394"/>
                <a:gd name="T70" fmla="*/ 338 w 359"/>
                <a:gd name="T71" fmla="*/ 185 h 394"/>
                <a:gd name="T72" fmla="*/ 323 w 359"/>
                <a:gd name="T73" fmla="*/ 206 h 394"/>
                <a:gd name="T74" fmla="*/ 315 w 359"/>
                <a:gd name="T75" fmla="*/ 224 h 394"/>
                <a:gd name="T76" fmla="*/ 313 w 359"/>
                <a:gd name="T77" fmla="*/ 239 h 394"/>
                <a:gd name="T78" fmla="*/ 313 w 359"/>
                <a:gd name="T79" fmla="*/ 255 h 394"/>
                <a:gd name="T80" fmla="*/ 321 w 359"/>
                <a:gd name="T81" fmla="*/ 273 h 394"/>
                <a:gd name="T82" fmla="*/ 331 w 359"/>
                <a:gd name="T83" fmla="*/ 293 h 394"/>
                <a:gd name="T84" fmla="*/ 337 w 359"/>
                <a:gd name="T85" fmla="*/ 309 h 394"/>
                <a:gd name="T86" fmla="*/ 337 w 359"/>
                <a:gd name="T87" fmla="*/ 321 h 394"/>
                <a:gd name="T88" fmla="*/ 330 w 359"/>
                <a:gd name="T89" fmla="*/ 337 h 394"/>
                <a:gd name="T90" fmla="*/ 326 w 359"/>
                <a:gd name="T91" fmla="*/ 351 h 394"/>
                <a:gd name="T92" fmla="*/ 319 w 359"/>
                <a:gd name="T93" fmla="*/ 358 h 394"/>
                <a:gd name="T94" fmla="*/ 308 w 359"/>
                <a:gd name="T95" fmla="*/ 356 h 394"/>
                <a:gd name="T96" fmla="*/ 298 w 359"/>
                <a:gd name="T97" fmla="*/ 350 h 394"/>
                <a:gd name="T98" fmla="*/ 287 w 359"/>
                <a:gd name="T99" fmla="*/ 340 h 394"/>
                <a:gd name="T100" fmla="*/ 277 w 359"/>
                <a:gd name="T101" fmla="*/ 335 h 394"/>
                <a:gd name="T102" fmla="*/ 266 w 359"/>
                <a:gd name="T103" fmla="*/ 333 h 394"/>
                <a:gd name="T104" fmla="*/ 246 w 359"/>
                <a:gd name="T105" fmla="*/ 333 h 394"/>
                <a:gd name="T106" fmla="*/ 221 w 359"/>
                <a:gd name="T107" fmla="*/ 336 h 394"/>
                <a:gd name="T108" fmla="*/ 181 w 359"/>
                <a:gd name="T109" fmla="*/ 343 h 394"/>
                <a:gd name="T110" fmla="*/ 131 w 359"/>
                <a:gd name="T111" fmla="*/ 359 h 394"/>
                <a:gd name="T112" fmla="*/ 86 w 359"/>
                <a:gd name="T113" fmla="*/ 375 h 394"/>
                <a:gd name="T114" fmla="*/ 53 w 359"/>
                <a:gd name="T115" fmla="*/ 394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06" name="Freeform 466"/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4867275" y="3521075"/>
              <a:ext cx="192088" cy="271463"/>
            </a:xfrm>
            <a:custGeom>
              <a:avLst/>
              <a:gdLst>
                <a:gd name="T0" fmla="*/ 410 w 449"/>
                <a:gd name="T1" fmla="*/ 105 h 523"/>
                <a:gd name="T2" fmla="*/ 405 w 449"/>
                <a:gd name="T3" fmla="*/ 98 h 523"/>
                <a:gd name="T4" fmla="*/ 408 w 449"/>
                <a:gd name="T5" fmla="*/ 92 h 523"/>
                <a:gd name="T6" fmla="*/ 422 w 449"/>
                <a:gd name="T7" fmla="*/ 77 h 523"/>
                <a:gd name="T8" fmla="*/ 441 w 449"/>
                <a:gd name="T9" fmla="*/ 60 h 523"/>
                <a:gd name="T10" fmla="*/ 447 w 449"/>
                <a:gd name="T11" fmla="*/ 50 h 523"/>
                <a:gd name="T12" fmla="*/ 449 w 449"/>
                <a:gd name="T13" fmla="*/ 37 h 523"/>
                <a:gd name="T14" fmla="*/ 432 w 449"/>
                <a:gd name="T15" fmla="*/ 34 h 523"/>
                <a:gd name="T16" fmla="*/ 422 w 449"/>
                <a:gd name="T17" fmla="*/ 27 h 523"/>
                <a:gd name="T18" fmla="*/ 411 w 449"/>
                <a:gd name="T19" fmla="*/ 21 h 523"/>
                <a:gd name="T20" fmla="*/ 390 w 449"/>
                <a:gd name="T21" fmla="*/ 18 h 523"/>
                <a:gd name="T22" fmla="*/ 377 w 449"/>
                <a:gd name="T23" fmla="*/ 20 h 523"/>
                <a:gd name="T24" fmla="*/ 368 w 449"/>
                <a:gd name="T25" fmla="*/ 24 h 523"/>
                <a:gd name="T26" fmla="*/ 355 w 449"/>
                <a:gd name="T27" fmla="*/ 37 h 523"/>
                <a:gd name="T28" fmla="*/ 340 w 449"/>
                <a:gd name="T29" fmla="*/ 50 h 523"/>
                <a:gd name="T30" fmla="*/ 326 w 449"/>
                <a:gd name="T31" fmla="*/ 54 h 523"/>
                <a:gd name="T32" fmla="*/ 310 w 449"/>
                <a:gd name="T33" fmla="*/ 55 h 523"/>
                <a:gd name="T34" fmla="*/ 287 w 449"/>
                <a:gd name="T35" fmla="*/ 54 h 523"/>
                <a:gd name="T36" fmla="*/ 267 w 449"/>
                <a:gd name="T37" fmla="*/ 50 h 523"/>
                <a:gd name="T38" fmla="*/ 235 w 449"/>
                <a:gd name="T39" fmla="*/ 36 h 523"/>
                <a:gd name="T40" fmla="*/ 206 w 449"/>
                <a:gd name="T41" fmla="*/ 19 h 523"/>
                <a:gd name="T42" fmla="*/ 189 w 449"/>
                <a:gd name="T43" fmla="*/ 12 h 523"/>
                <a:gd name="T44" fmla="*/ 170 w 449"/>
                <a:gd name="T45" fmla="*/ 6 h 523"/>
                <a:gd name="T46" fmla="*/ 134 w 449"/>
                <a:gd name="T47" fmla="*/ 8 h 523"/>
                <a:gd name="T48" fmla="*/ 119 w 449"/>
                <a:gd name="T49" fmla="*/ 6 h 523"/>
                <a:gd name="T50" fmla="*/ 103 w 449"/>
                <a:gd name="T51" fmla="*/ 0 h 523"/>
                <a:gd name="T52" fmla="*/ 52 w 449"/>
                <a:gd name="T53" fmla="*/ 0 h 523"/>
                <a:gd name="T54" fmla="*/ 5 w 449"/>
                <a:gd name="T55" fmla="*/ 0 h 523"/>
                <a:gd name="T56" fmla="*/ 5 w 449"/>
                <a:gd name="T57" fmla="*/ 18 h 523"/>
                <a:gd name="T58" fmla="*/ 5 w 449"/>
                <a:gd name="T59" fmla="*/ 37 h 523"/>
                <a:gd name="T60" fmla="*/ 15 w 449"/>
                <a:gd name="T61" fmla="*/ 60 h 523"/>
                <a:gd name="T62" fmla="*/ 23 w 449"/>
                <a:gd name="T63" fmla="*/ 91 h 523"/>
                <a:gd name="T64" fmla="*/ 31 w 449"/>
                <a:gd name="T65" fmla="*/ 128 h 523"/>
                <a:gd name="T66" fmla="*/ 38 w 449"/>
                <a:gd name="T67" fmla="*/ 172 h 523"/>
                <a:gd name="T68" fmla="*/ 37 w 449"/>
                <a:gd name="T69" fmla="*/ 206 h 523"/>
                <a:gd name="T70" fmla="*/ 29 w 449"/>
                <a:gd name="T71" fmla="*/ 230 h 523"/>
                <a:gd name="T72" fmla="*/ 7 w 449"/>
                <a:gd name="T73" fmla="*/ 269 h 523"/>
                <a:gd name="T74" fmla="*/ 10 w 449"/>
                <a:gd name="T75" fmla="*/ 321 h 523"/>
                <a:gd name="T76" fmla="*/ 28 w 449"/>
                <a:gd name="T77" fmla="*/ 339 h 523"/>
                <a:gd name="T78" fmla="*/ 84 w 449"/>
                <a:gd name="T79" fmla="*/ 367 h 523"/>
                <a:gd name="T80" fmla="*/ 136 w 449"/>
                <a:gd name="T81" fmla="*/ 396 h 523"/>
                <a:gd name="T82" fmla="*/ 170 w 449"/>
                <a:gd name="T83" fmla="*/ 420 h 523"/>
                <a:gd name="T84" fmla="*/ 189 w 449"/>
                <a:gd name="T85" fmla="*/ 436 h 523"/>
                <a:gd name="T86" fmla="*/ 198 w 449"/>
                <a:gd name="T87" fmla="*/ 451 h 523"/>
                <a:gd name="T88" fmla="*/ 201 w 449"/>
                <a:gd name="T89" fmla="*/ 464 h 523"/>
                <a:gd name="T90" fmla="*/ 209 w 449"/>
                <a:gd name="T91" fmla="*/ 479 h 523"/>
                <a:gd name="T92" fmla="*/ 220 w 449"/>
                <a:gd name="T93" fmla="*/ 492 h 523"/>
                <a:gd name="T94" fmla="*/ 233 w 449"/>
                <a:gd name="T95" fmla="*/ 503 h 523"/>
                <a:gd name="T96" fmla="*/ 247 w 449"/>
                <a:gd name="T97" fmla="*/ 512 h 523"/>
                <a:gd name="T98" fmla="*/ 264 w 449"/>
                <a:gd name="T99" fmla="*/ 519 h 523"/>
                <a:gd name="T100" fmla="*/ 281 w 449"/>
                <a:gd name="T101" fmla="*/ 523 h 523"/>
                <a:gd name="T102" fmla="*/ 304 w 449"/>
                <a:gd name="T103" fmla="*/ 502 h 523"/>
                <a:gd name="T104" fmla="*/ 335 w 449"/>
                <a:gd name="T105" fmla="*/ 462 h 523"/>
                <a:gd name="T106" fmla="*/ 365 w 449"/>
                <a:gd name="T107" fmla="*/ 427 h 523"/>
                <a:gd name="T108" fmla="*/ 394 w 449"/>
                <a:gd name="T109" fmla="*/ 390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07" name="Freeform 467"/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4849813" y="2606675"/>
              <a:ext cx="101600" cy="130175"/>
            </a:xfrm>
            <a:custGeom>
              <a:avLst/>
              <a:gdLst>
                <a:gd name="T0" fmla="*/ 12 w 226"/>
                <a:gd name="T1" fmla="*/ 228 h 246"/>
                <a:gd name="T2" fmla="*/ 36 w 226"/>
                <a:gd name="T3" fmla="*/ 240 h 246"/>
                <a:gd name="T4" fmla="*/ 53 w 226"/>
                <a:gd name="T5" fmla="*/ 245 h 246"/>
                <a:gd name="T6" fmla="*/ 68 w 226"/>
                <a:gd name="T7" fmla="*/ 245 h 246"/>
                <a:gd name="T8" fmla="*/ 85 w 226"/>
                <a:gd name="T9" fmla="*/ 241 h 246"/>
                <a:gd name="T10" fmla="*/ 110 w 226"/>
                <a:gd name="T11" fmla="*/ 228 h 246"/>
                <a:gd name="T12" fmla="*/ 141 w 226"/>
                <a:gd name="T13" fmla="*/ 205 h 246"/>
                <a:gd name="T14" fmla="*/ 161 w 226"/>
                <a:gd name="T15" fmla="*/ 184 h 246"/>
                <a:gd name="T16" fmla="*/ 159 w 226"/>
                <a:gd name="T17" fmla="*/ 173 h 246"/>
                <a:gd name="T18" fmla="*/ 149 w 226"/>
                <a:gd name="T19" fmla="*/ 160 h 246"/>
                <a:gd name="T20" fmla="*/ 143 w 226"/>
                <a:gd name="T21" fmla="*/ 145 h 246"/>
                <a:gd name="T22" fmla="*/ 141 w 226"/>
                <a:gd name="T23" fmla="*/ 130 h 246"/>
                <a:gd name="T24" fmla="*/ 141 w 226"/>
                <a:gd name="T25" fmla="*/ 116 h 246"/>
                <a:gd name="T26" fmla="*/ 146 w 226"/>
                <a:gd name="T27" fmla="*/ 105 h 246"/>
                <a:gd name="T28" fmla="*/ 156 w 226"/>
                <a:gd name="T29" fmla="*/ 94 h 246"/>
                <a:gd name="T30" fmla="*/ 168 w 226"/>
                <a:gd name="T31" fmla="*/ 86 h 246"/>
                <a:gd name="T32" fmla="*/ 204 w 226"/>
                <a:gd name="T33" fmla="*/ 71 h 246"/>
                <a:gd name="T34" fmla="*/ 225 w 226"/>
                <a:gd name="T35" fmla="*/ 49 h 246"/>
                <a:gd name="T36" fmla="*/ 221 w 226"/>
                <a:gd name="T37" fmla="*/ 30 h 246"/>
                <a:gd name="T38" fmla="*/ 214 w 226"/>
                <a:gd name="T39" fmla="*/ 17 h 246"/>
                <a:gd name="T40" fmla="*/ 212 w 226"/>
                <a:gd name="T41" fmla="*/ 6 h 246"/>
                <a:gd name="T42" fmla="*/ 202 w 226"/>
                <a:gd name="T43" fmla="*/ 1 h 246"/>
                <a:gd name="T44" fmla="*/ 181 w 226"/>
                <a:gd name="T45" fmla="*/ 7 h 246"/>
                <a:gd name="T46" fmla="*/ 154 w 226"/>
                <a:gd name="T47" fmla="*/ 20 h 246"/>
                <a:gd name="T48" fmla="*/ 121 w 226"/>
                <a:gd name="T49" fmla="*/ 38 h 246"/>
                <a:gd name="T50" fmla="*/ 100 w 226"/>
                <a:gd name="T51" fmla="*/ 51 h 246"/>
                <a:gd name="T52" fmla="*/ 87 w 226"/>
                <a:gd name="T53" fmla="*/ 55 h 246"/>
                <a:gd name="T54" fmla="*/ 75 w 226"/>
                <a:gd name="T55" fmla="*/ 54 h 246"/>
                <a:gd name="T56" fmla="*/ 59 w 226"/>
                <a:gd name="T57" fmla="*/ 47 h 246"/>
                <a:gd name="T58" fmla="*/ 36 w 226"/>
                <a:gd name="T59" fmla="*/ 31 h 246"/>
                <a:gd name="T60" fmla="*/ 24 w 226"/>
                <a:gd name="T61" fmla="*/ 39 h 246"/>
                <a:gd name="T62" fmla="*/ 18 w 226"/>
                <a:gd name="T63" fmla="*/ 95 h 246"/>
                <a:gd name="T64" fmla="*/ 10 w 226"/>
                <a:gd name="T65" fmla="*/ 163 h 246"/>
                <a:gd name="T66" fmla="*/ 3 w 226"/>
                <a:gd name="T67" fmla="*/ 21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08" name="Freeform 468"/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5148263" y="2709863"/>
              <a:ext cx="22225" cy="55562"/>
            </a:xfrm>
            <a:custGeom>
              <a:avLst/>
              <a:gdLst>
                <a:gd name="T0" fmla="*/ 27 w 60"/>
                <a:gd name="T1" fmla="*/ 0 h 81"/>
                <a:gd name="T2" fmla="*/ 29 w 60"/>
                <a:gd name="T3" fmla="*/ 2 h 81"/>
                <a:gd name="T4" fmla="*/ 32 w 60"/>
                <a:gd name="T5" fmla="*/ 3 h 81"/>
                <a:gd name="T6" fmla="*/ 36 w 60"/>
                <a:gd name="T7" fmla="*/ 3 h 81"/>
                <a:gd name="T8" fmla="*/ 40 w 60"/>
                <a:gd name="T9" fmla="*/ 2 h 81"/>
                <a:gd name="T10" fmla="*/ 47 w 60"/>
                <a:gd name="T11" fmla="*/ 1 h 81"/>
                <a:gd name="T12" fmla="*/ 53 w 60"/>
                <a:gd name="T13" fmla="*/ 0 h 81"/>
                <a:gd name="T14" fmla="*/ 53 w 60"/>
                <a:gd name="T15" fmla="*/ 26 h 81"/>
                <a:gd name="T16" fmla="*/ 54 w 60"/>
                <a:gd name="T17" fmla="*/ 47 h 81"/>
                <a:gd name="T18" fmla="*/ 54 w 60"/>
                <a:gd name="T19" fmla="*/ 57 h 81"/>
                <a:gd name="T20" fmla="*/ 56 w 60"/>
                <a:gd name="T21" fmla="*/ 65 h 81"/>
                <a:gd name="T22" fmla="*/ 58 w 60"/>
                <a:gd name="T23" fmla="*/ 73 h 81"/>
                <a:gd name="T24" fmla="*/ 60 w 60"/>
                <a:gd name="T25" fmla="*/ 81 h 81"/>
                <a:gd name="T26" fmla="*/ 20 w 60"/>
                <a:gd name="T27" fmla="*/ 81 h 81"/>
                <a:gd name="T28" fmla="*/ 14 w 60"/>
                <a:gd name="T29" fmla="*/ 80 h 81"/>
                <a:gd name="T30" fmla="*/ 7 w 60"/>
                <a:gd name="T31" fmla="*/ 77 h 81"/>
                <a:gd name="T32" fmla="*/ 5 w 60"/>
                <a:gd name="T33" fmla="*/ 74 h 81"/>
                <a:gd name="T34" fmla="*/ 2 w 60"/>
                <a:gd name="T35" fmla="*/ 72 h 81"/>
                <a:gd name="T36" fmla="*/ 1 w 60"/>
                <a:gd name="T37" fmla="*/ 70 h 81"/>
                <a:gd name="T38" fmla="*/ 0 w 60"/>
                <a:gd name="T39" fmla="*/ 68 h 81"/>
                <a:gd name="T40" fmla="*/ 7 w 60"/>
                <a:gd name="T41" fmla="*/ 12 h 81"/>
                <a:gd name="T42" fmla="*/ 20 w 60"/>
                <a:gd name="T43" fmla="*/ 6 h 81"/>
                <a:gd name="T44" fmla="*/ 34 w 60"/>
                <a:gd name="T45" fmla="*/ 0 h 81"/>
                <a:gd name="T46" fmla="*/ 27 w 60"/>
                <a:gd name="T47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09" name="Freeform 469"/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4435475" y="1844675"/>
              <a:ext cx="161925" cy="66675"/>
            </a:xfrm>
            <a:custGeom>
              <a:avLst/>
              <a:gdLst>
                <a:gd name="T0" fmla="*/ 250 w 370"/>
                <a:gd name="T1" fmla="*/ 117 h 129"/>
                <a:gd name="T2" fmla="*/ 258 w 370"/>
                <a:gd name="T3" fmla="*/ 119 h 129"/>
                <a:gd name="T4" fmla="*/ 277 w 370"/>
                <a:gd name="T5" fmla="*/ 123 h 129"/>
                <a:gd name="T6" fmla="*/ 295 w 370"/>
                <a:gd name="T7" fmla="*/ 127 h 129"/>
                <a:gd name="T8" fmla="*/ 303 w 370"/>
                <a:gd name="T9" fmla="*/ 129 h 129"/>
                <a:gd name="T10" fmla="*/ 370 w 370"/>
                <a:gd name="T11" fmla="*/ 97 h 129"/>
                <a:gd name="T12" fmla="*/ 358 w 370"/>
                <a:gd name="T13" fmla="*/ 75 h 129"/>
                <a:gd name="T14" fmla="*/ 345 w 370"/>
                <a:gd name="T15" fmla="*/ 48 h 129"/>
                <a:gd name="T16" fmla="*/ 335 w 370"/>
                <a:gd name="T17" fmla="*/ 27 h 129"/>
                <a:gd name="T18" fmla="*/ 330 w 370"/>
                <a:gd name="T19" fmla="*/ 18 h 129"/>
                <a:gd name="T20" fmla="*/ 300 w 370"/>
                <a:gd name="T21" fmla="*/ 15 h 129"/>
                <a:gd name="T22" fmla="*/ 257 w 370"/>
                <a:gd name="T23" fmla="*/ 9 h 129"/>
                <a:gd name="T24" fmla="*/ 214 w 370"/>
                <a:gd name="T25" fmla="*/ 2 h 129"/>
                <a:gd name="T26" fmla="*/ 183 w 370"/>
                <a:gd name="T27" fmla="*/ 0 h 129"/>
                <a:gd name="T28" fmla="*/ 179 w 370"/>
                <a:gd name="T29" fmla="*/ 0 h 129"/>
                <a:gd name="T30" fmla="*/ 176 w 370"/>
                <a:gd name="T31" fmla="*/ 1 h 129"/>
                <a:gd name="T32" fmla="*/ 172 w 370"/>
                <a:gd name="T33" fmla="*/ 2 h 129"/>
                <a:gd name="T34" fmla="*/ 170 w 370"/>
                <a:gd name="T35" fmla="*/ 3 h 129"/>
                <a:gd name="T36" fmla="*/ 162 w 370"/>
                <a:gd name="T37" fmla="*/ 7 h 129"/>
                <a:gd name="T38" fmla="*/ 150 w 370"/>
                <a:gd name="T39" fmla="*/ 12 h 129"/>
                <a:gd name="T40" fmla="*/ 147 w 370"/>
                <a:gd name="T41" fmla="*/ 21 h 129"/>
                <a:gd name="T42" fmla="*/ 140 w 370"/>
                <a:gd name="T43" fmla="*/ 35 h 129"/>
                <a:gd name="T44" fmla="*/ 134 w 370"/>
                <a:gd name="T45" fmla="*/ 48 h 129"/>
                <a:gd name="T46" fmla="*/ 131 w 370"/>
                <a:gd name="T47" fmla="*/ 55 h 129"/>
                <a:gd name="T48" fmla="*/ 122 w 370"/>
                <a:gd name="T49" fmla="*/ 54 h 129"/>
                <a:gd name="T50" fmla="*/ 111 w 370"/>
                <a:gd name="T51" fmla="*/ 49 h 129"/>
                <a:gd name="T52" fmla="*/ 98 w 370"/>
                <a:gd name="T53" fmla="*/ 44 h 129"/>
                <a:gd name="T54" fmla="*/ 84 w 370"/>
                <a:gd name="T55" fmla="*/ 38 h 129"/>
                <a:gd name="T56" fmla="*/ 60 w 370"/>
                <a:gd name="T57" fmla="*/ 26 h 129"/>
                <a:gd name="T58" fmla="*/ 44 w 370"/>
                <a:gd name="T59" fmla="*/ 18 h 129"/>
                <a:gd name="T60" fmla="*/ 32 w 370"/>
                <a:gd name="T61" fmla="*/ 25 h 129"/>
                <a:gd name="T62" fmla="*/ 21 w 370"/>
                <a:gd name="T63" fmla="*/ 33 h 129"/>
                <a:gd name="T64" fmla="*/ 16 w 370"/>
                <a:gd name="T65" fmla="*/ 37 h 129"/>
                <a:gd name="T66" fmla="*/ 12 w 370"/>
                <a:gd name="T67" fmla="*/ 41 h 129"/>
                <a:gd name="T68" fmla="*/ 9 w 370"/>
                <a:gd name="T69" fmla="*/ 46 h 129"/>
                <a:gd name="T70" fmla="*/ 5 w 370"/>
                <a:gd name="T71" fmla="*/ 52 h 129"/>
                <a:gd name="T72" fmla="*/ 3 w 370"/>
                <a:gd name="T73" fmla="*/ 57 h 129"/>
                <a:gd name="T74" fmla="*/ 1 w 370"/>
                <a:gd name="T75" fmla="*/ 63 h 129"/>
                <a:gd name="T76" fmla="*/ 0 w 370"/>
                <a:gd name="T77" fmla="*/ 69 h 129"/>
                <a:gd name="T78" fmla="*/ 0 w 370"/>
                <a:gd name="T79" fmla="*/ 75 h 129"/>
                <a:gd name="T80" fmla="*/ 1 w 370"/>
                <a:gd name="T81" fmla="*/ 82 h 129"/>
                <a:gd name="T82" fmla="*/ 3 w 370"/>
                <a:gd name="T83" fmla="*/ 88 h 129"/>
                <a:gd name="T84" fmla="*/ 6 w 370"/>
                <a:gd name="T85" fmla="*/ 96 h 129"/>
                <a:gd name="T86" fmla="*/ 11 w 370"/>
                <a:gd name="T87" fmla="*/ 103 h 129"/>
                <a:gd name="T88" fmla="*/ 20 w 370"/>
                <a:gd name="T89" fmla="*/ 101 h 129"/>
                <a:gd name="T90" fmla="*/ 33 w 370"/>
                <a:gd name="T91" fmla="*/ 99 h 129"/>
                <a:gd name="T92" fmla="*/ 50 w 370"/>
                <a:gd name="T93" fmla="*/ 97 h 129"/>
                <a:gd name="T94" fmla="*/ 69 w 370"/>
                <a:gd name="T95" fmla="*/ 95 h 129"/>
                <a:gd name="T96" fmla="*/ 102 w 370"/>
                <a:gd name="T97" fmla="*/ 92 h 129"/>
                <a:gd name="T98" fmla="*/ 117 w 370"/>
                <a:gd name="T99" fmla="*/ 91 h 129"/>
                <a:gd name="T100" fmla="*/ 137 w 370"/>
                <a:gd name="T101" fmla="*/ 92 h 129"/>
                <a:gd name="T102" fmla="*/ 152 w 370"/>
                <a:gd name="T103" fmla="*/ 94 h 129"/>
                <a:gd name="T104" fmla="*/ 166 w 370"/>
                <a:gd name="T105" fmla="*/ 97 h 129"/>
                <a:gd name="T106" fmla="*/ 177 w 370"/>
                <a:gd name="T107" fmla="*/ 100 h 129"/>
                <a:gd name="T108" fmla="*/ 189 w 370"/>
                <a:gd name="T109" fmla="*/ 104 h 129"/>
                <a:gd name="T110" fmla="*/ 201 w 370"/>
                <a:gd name="T111" fmla="*/ 108 h 129"/>
                <a:gd name="T112" fmla="*/ 217 w 370"/>
                <a:gd name="T113" fmla="*/ 110 h 129"/>
                <a:gd name="T114" fmla="*/ 237 w 370"/>
                <a:gd name="T115" fmla="*/ 111 h 129"/>
                <a:gd name="T116" fmla="*/ 237 w 370"/>
                <a:gd name="T117" fmla="*/ 117 h 129"/>
                <a:gd name="T118" fmla="*/ 250 w 370"/>
                <a:gd name="T119" fmla="*/ 117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10" name="Freeform 470"/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4846638" y="2565400"/>
              <a:ext cx="30162" cy="57150"/>
            </a:xfrm>
            <a:custGeom>
              <a:avLst/>
              <a:gdLst>
                <a:gd name="T0" fmla="*/ 27 w 80"/>
                <a:gd name="T1" fmla="*/ 1 h 94"/>
                <a:gd name="T2" fmla="*/ 34 w 80"/>
                <a:gd name="T3" fmla="*/ 0 h 94"/>
                <a:gd name="T4" fmla="*/ 41 w 80"/>
                <a:gd name="T5" fmla="*/ 0 h 94"/>
                <a:gd name="T6" fmla="*/ 47 w 80"/>
                <a:gd name="T7" fmla="*/ 2 h 94"/>
                <a:gd name="T8" fmla="*/ 54 w 80"/>
                <a:gd name="T9" fmla="*/ 4 h 94"/>
                <a:gd name="T10" fmla="*/ 60 w 80"/>
                <a:gd name="T11" fmla="*/ 6 h 94"/>
                <a:gd name="T12" fmla="*/ 66 w 80"/>
                <a:gd name="T13" fmla="*/ 8 h 94"/>
                <a:gd name="T14" fmla="*/ 73 w 80"/>
                <a:gd name="T15" fmla="*/ 8 h 94"/>
                <a:gd name="T16" fmla="*/ 80 w 80"/>
                <a:gd name="T17" fmla="*/ 7 h 94"/>
                <a:gd name="T18" fmla="*/ 80 w 80"/>
                <a:gd name="T19" fmla="*/ 38 h 94"/>
                <a:gd name="T20" fmla="*/ 75 w 80"/>
                <a:gd name="T21" fmla="*/ 44 h 94"/>
                <a:gd name="T22" fmla="*/ 69 w 80"/>
                <a:gd name="T23" fmla="*/ 51 h 94"/>
                <a:gd name="T24" fmla="*/ 64 w 80"/>
                <a:gd name="T25" fmla="*/ 59 h 94"/>
                <a:gd name="T26" fmla="*/ 58 w 80"/>
                <a:gd name="T27" fmla="*/ 68 h 94"/>
                <a:gd name="T28" fmla="*/ 51 w 80"/>
                <a:gd name="T29" fmla="*/ 84 h 94"/>
                <a:gd name="T30" fmla="*/ 47 w 80"/>
                <a:gd name="T31" fmla="*/ 94 h 94"/>
                <a:gd name="T32" fmla="*/ 43 w 80"/>
                <a:gd name="T33" fmla="*/ 93 h 94"/>
                <a:gd name="T34" fmla="*/ 40 w 80"/>
                <a:gd name="T35" fmla="*/ 92 h 94"/>
                <a:gd name="T36" fmla="*/ 37 w 80"/>
                <a:gd name="T37" fmla="*/ 91 h 94"/>
                <a:gd name="T38" fmla="*/ 34 w 80"/>
                <a:gd name="T39" fmla="*/ 89 h 94"/>
                <a:gd name="T40" fmla="*/ 29 w 80"/>
                <a:gd name="T41" fmla="*/ 84 h 94"/>
                <a:gd name="T42" fmla="*/ 23 w 80"/>
                <a:gd name="T43" fmla="*/ 78 h 94"/>
                <a:gd name="T44" fmla="*/ 19 w 80"/>
                <a:gd name="T45" fmla="*/ 72 h 94"/>
                <a:gd name="T46" fmla="*/ 13 w 80"/>
                <a:gd name="T47" fmla="*/ 65 h 94"/>
                <a:gd name="T48" fmla="*/ 7 w 80"/>
                <a:gd name="T49" fmla="*/ 60 h 94"/>
                <a:gd name="T50" fmla="*/ 0 w 80"/>
                <a:gd name="T51" fmla="*/ 56 h 94"/>
                <a:gd name="T52" fmla="*/ 8 w 80"/>
                <a:gd name="T53" fmla="*/ 41 h 94"/>
                <a:gd name="T54" fmla="*/ 13 w 80"/>
                <a:gd name="T55" fmla="*/ 29 h 94"/>
                <a:gd name="T56" fmla="*/ 19 w 80"/>
                <a:gd name="T57" fmla="*/ 17 h 94"/>
                <a:gd name="T58" fmla="*/ 27 w 80"/>
                <a:gd name="T59" fmla="*/ 1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11" name="Freeform 472"/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4433888" y="1892300"/>
              <a:ext cx="131762" cy="84138"/>
            </a:xfrm>
            <a:custGeom>
              <a:avLst/>
              <a:gdLst>
                <a:gd name="T0" fmla="*/ 192 w 312"/>
                <a:gd name="T1" fmla="*/ 155 h 155"/>
                <a:gd name="T2" fmla="*/ 194 w 312"/>
                <a:gd name="T3" fmla="*/ 151 h 155"/>
                <a:gd name="T4" fmla="*/ 197 w 312"/>
                <a:gd name="T5" fmla="*/ 148 h 155"/>
                <a:gd name="T6" fmla="*/ 200 w 312"/>
                <a:gd name="T7" fmla="*/ 145 h 155"/>
                <a:gd name="T8" fmla="*/ 203 w 312"/>
                <a:gd name="T9" fmla="*/ 142 h 155"/>
                <a:gd name="T10" fmla="*/ 211 w 312"/>
                <a:gd name="T11" fmla="*/ 137 h 155"/>
                <a:gd name="T12" fmla="*/ 220 w 312"/>
                <a:gd name="T13" fmla="*/ 132 h 155"/>
                <a:gd name="T14" fmla="*/ 238 w 312"/>
                <a:gd name="T15" fmla="*/ 123 h 155"/>
                <a:gd name="T16" fmla="*/ 253 w 312"/>
                <a:gd name="T17" fmla="*/ 117 h 155"/>
                <a:gd name="T18" fmla="*/ 255 w 312"/>
                <a:gd name="T19" fmla="*/ 109 h 155"/>
                <a:gd name="T20" fmla="*/ 260 w 312"/>
                <a:gd name="T21" fmla="*/ 97 h 155"/>
                <a:gd name="T22" fmla="*/ 264 w 312"/>
                <a:gd name="T23" fmla="*/ 91 h 155"/>
                <a:gd name="T24" fmla="*/ 267 w 312"/>
                <a:gd name="T25" fmla="*/ 86 h 155"/>
                <a:gd name="T26" fmla="*/ 269 w 312"/>
                <a:gd name="T27" fmla="*/ 82 h 155"/>
                <a:gd name="T28" fmla="*/ 272 w 312"/>
                <a:gd name="T29" fmla="*/ 81 h 155"/>
                <a:gd name="T30" fmla="*/ 312 w 312"/>
                <a:gd name="T31" fmla="*/ 44 h 155"/>
                <a:gd name="T32" fmla="*/ 312 w 312"/>
                <a:gd name="T33" fmla="*/ 39 h 155"/>
                <a:gd name="T34" fmla="*/ 310 w 312"/>
                <a:gd name="T35" fmla="*/ 35 h 155"/>
                <a:gd name="T36" fmla="*/ 306 w 312"/>
                <a:gd name="T37" fmla="*/ 32 h 155"/>
                <a:gd name="T38" fmla="*/ 302 w 312"/>
                <a:gd name="T39" fmla="*/ 30 h 155"/>
                <a:gd name="T40" fmla="*/ 291 w 312"/>
                <a:gd name="T41" fmla="*/ 28 h 155"/>
                <a:gd name="T42" fmla="*/ 280 w 312"/>
                <a:gd name="T43" fmla="*/ 27 h 155"/>
                <a:gd name="T44" fmla="*/ 268 w 312"/>
                <a:gd name="T45" fmla="*/ 27 h 155"/>
                <a:gd name="T46" fmla="*/ 259 w 312"/>
                <a:gd name="T47" fmla="*/ 27 h 155"/>
                <a:gd name="T48" fmla="*/ 256 w 312"/>
                <a:gd name="T49" fmla="*/ 26 h 155"/>
                <a:gd name="T50" fmla="*/ 253 w 312"/>
                <a:gd name="T51" fmla="*/ 25 h 155"/>
                <a:gd name="T52" fmla="*/ 252 w 312"/>
                <a:gd name="T53" fmla="*/ 23 h 155"/>
                <a:gd name="T54" fmla="*/ 253 w 312"/>
                <a:gd name="T55" fmla="*/ 20 h 155"/>
                <a:gd name="T56" fmla="*/ 232 w 312"/>
                <a:gd name="T57" fmla="*/ 19 h 155"/>
                <a:gd name="T58" fmla="*/ 216 w 312"/>
                <a:gd name="T59" fmla="*/ 17 h 155"/>
                <a:gd name="T60" fmla="*/ 202 w 312"/>
                <a:gd name="T61" fmla="*/ 13 h 155"/>
                <a:gd name="T62" fmla="*/ 189 w 312"/>
                <a:gd name="T63" fmla="*/ 9 h 155"/>
                <a:gd name="T64" fmla="*/ 177 w 312"/>
                <a:gd name="T65" fmla="*/ 6 h 155"/>
                <a:gd name="T66" fmla="*/ 163 w 312"/>
                <a:gd name="T67" fmla="*/ 3 h 155"/>
                <a:gd name="T68" fmla="*/ 146 w 312"/>
                <a:gd name="T69" fmla="*/ 1 h 155"/>
                <a:gd name="T70" fmla="*/ 126 w 312"/>
                <a:gd name="T71" fmla="*/ 0 h 155"/>
                <a:gd name="T72" fmla="*/ 110 w 312"/>
                <a:gd name="T73" fmla="*/ 1 h 155"/>
                <a:gd name="T74" fmla="*/ 74 w 312"/>
                <a:gd name="T75" fmla="*/ 4 h 155"/>
                <a:gd name="T76" fmla="*/ 53 w 312"/>
                <a:gd name="T77" fmla="*/ 6 h 155"/>
                <a:gd name="T78" fmla="*/ 34 w 312"/>
                <a:gd name="T79" fmla="*/ 8 h 155"/>
                <a:gd name="T80" fmla="*/ 18 w 312"/>
                <a:gd name="T81" fmla="*/ 10 h 155"/>
                <a:gd name="T82" fmla="*/ 7 w 312"/>
                <a:gd name="T83" fmla="*/ 12 h 155"/>
                <a:gd name="T84" fmla="*/ 9 w 312"/>
                <a:gd name="T85" fmla="*/ 17 h 155"/>
                <a:gd name="T86" fmla="*/ 11 w 312"/>
                <a:gd name="T87" fmla="*/ 19 h 155"/>
                <a:gd name="T88" fmla="*/ 13 w 312"/>
                <a:gd name="T89" fmla="*/ 19 h 155"/>
                <a:gd name="T90" fmla="*/ 15 w 312"/>
                <a:gd name="T91" fmla="*/ 20 h 155"/>
                <a:gd name="T92" fmla="*/ 18 w 312"/>
                <a:gd name="T93" fmla="*/ 20 h 155"/>
                <a:gd name="T94" fmla="*/ 19 w 312"/>
                <a:gd name="T95" fmla="*/ 20 h 155"/>
                <a:gd name="T96" fmla="*/ 20 w 312"/>
                <a:gd name="T97" fmla="*/ 22 h 155"/>
                <a:gd name="T98" fmla="*/ 20 w 312"/>
                <a:gd name="T99" fmla="*/ 26 h 155"/>
                <a:gd name="T100" fmla="*/ 20 w 312"/>
                <a:gd name="T101" fmla="*/ 30 h 155"/>
                <a:gd name="T102" fmla="*/ 19 w 312"/>
                <a:gd name="T103" fmla="*/ 35 h 155"/>
                <a:gd name="T104" fmla="*/ 18 w 312"/>
                <a:gd name="T105" fmla="*/ 39 h 155"/>
                <a:gd name="T106" fmla="*/ 15 w 312"/>
                <a:gd name="T107" fmla="*/ 42 h 155"/>
                <a:gd name="T108" fmla="*/ 12 w 312"/>
                <a:gd name="T109" fmla="*/ 45 h 155"/>
                <a:gd name="T110" fmla="*/ 9 w 312"/>
                <a:gd name="T111" fmla="*/ 48 h 155"/>
                <a:gd name="T112" fmla="*/ 4 w 312"/>
                <a:gd name="T113" fmla="*/ 49 h 155"/>
                <a:gd name="T114" fmla="*/ 0 w 312"/>
                <a:gd name="T115" fmla="*/ 50 h 155"/>
                <a:gd name="T116" fmla="*/ 74 w 312"/>
                <a:gd name="T117" fmla="*/ 68 h 155"/>
                <a:gd name="T118" fmla="*/ 87 w 312"/>
                <a:gd name="T119" fmla="*/ 111 h 155"/>
                <a:gd name="T120" fmla="*/ 166 w 312"/>
                <a:gd name="T121" fmla="*/ 123 h 155"/>
                <a:gd name="T122" fmla="*/ 192 w 312"/>
                <a:gd name="T123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12" name="Freeform 473"/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4140200" y="2078038"/>
              <a:ext cx="19050" cy="60325"/>
            </a:xfrm>
            <a:custGeom>
              <a:avLst/>
              <a:gdLst>
                <a:gd name="T0" fmla="*/ 0 w 46"/>
                <a:gd name="T1" fmla="*/ 25 h 50"/>
                <a:gd name="T2" fmla="*/ 2 w 46"/>
                <a:gd name="T3" fmla="*/ 18 h 50"/>
                <a:gd name="T4" fmla="*/ 1 w 46"/>
                <a:gd name="T5" fmla="*/ 14 h 50"/>
                <a:gd name="T6" fmla="*/ 2 w 46"/>
                <a:gd name="T7" fmla="*/ 13 h 50"/>
                <a:gd name="T8" fmla="*/ 3 w 46"/>
                <a:gd name="T9" fmla="*/ 13 h 50"/>
                <a:gd name="T10" fmla="*/ 6 w 46"/>
                <a:gd name="T11" fmla="*/ 12 h 50"/>
                <a:gd name="T12" fmla="*/ 13 w 46"/>
                <a:gd name="T13" fmla="*/ 12 h 50"/>
                <a:gd name="T14" fmla="*/ 46 w 46"/>
                <a:gd name="T15" fmla="*/ 0 h 50"/>
                <a:gd name="T16" fmla="*/ 46 w 46"/>
                <a:gd name="T17" fmla="*/ 50 h 50"/>
                <a:gd name="T18" fmla="*/ 40 w 46"/>
                <a:gd name="T19" fmla="*/ 49 h 50"/>
                <a:gd name="T20" fmla="*/ 33 w 46"/>
                <a:gd name="T21" fmla="*/ 45 h 50"/>
                <a:gd name="T22" fmla="*/ 25 w 46"/>
                <a:gd name="T23" fmla="*/ 41 h 50"/>
                <a:gd name="T24" fmla="*/ 17 w 46"/>
                <a:gd name="T25" fmla="*/ 37 h 50"/>
                <a:gd name="T26" fmla="*/ 5 w 46"/>
                <a:gd name="T27" fmla="*/ 28 h 50"/>
                <a:gd name="T28" fmla="*/ 0 w 46"/>
                <a:gd name="T29" fmla="*/ 2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13" name="Freeform 474"/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4837113" y="3962400"/>
              <a:ext cx="69850" cy="241300"/>
            </a:xfrm>
            <a:custGeom>
              <a:avLst/>
              <a:gdLst>
                <a:gd name="T0" fmla="*/ 10 w 166"/>
                <a:gd name="T1" fmla="*/ 282 h 456"/>
                <a:gd name="T2" fmla="*/ 19 w 166"/>
                <a:gd name="T3" fmla="*/ 290 h 456"/>
                <a:gd name="T4" fmla="*/ 37 w 166"/>
                <a:gd name="T5" fmla="*/ 300 h 456"/>
                <a:gd name="T6" fmla="*/ 58 w 166"/>
                <a:gd name="T7" fmla="*/ 306 h 456"/>
                <a:gd name="T8" fmla="*/ 70 w 166"/>
                <a:gd name="T9" fmla="*/ 312 h 456"/>
                <a:gd name="T10" fmla="*/ 80 w 166"/>
                <a:gd name="T11" fmla="*/ 320 h 456"/>
                <a:gd name="T12" fmla="*/ 86 w 166"/>
                <a:gd name="T13" fmla="*/ 331 h 456"/>
                <a:gd name="T14" fmla="*/ 86 w 166"/>
                <a:gd name="T15" fmla="*/ 347 h 456"/>
                <a:gd name="T16" fmla="*/ 78 w 166"/>
                <a:gd name="T17" fmla="*/ 363 h 456"/>
                <a:gd name="T18" fmla="*/ 68 w 166"/>
                <a:gd name="T19" fmla="*/ 375 h 456"/>
                <a:gd name="T20" fmla="*/ 62 w 166"/>
                <a:gd name="T21" fmla="*/ 388 h 456"/>
                <a:gd name="T22" fmla="*/ 60 w 166"/>
                <a:gd name="T23" fmla="*/ 400 h 456"/>
                <a:gd name="T24" fmla="*/ 64 w 166"/>
                <a:gd name="T25" fmla="*/ 411 h 456"/>
                <a:gd name="T26" fmla="*/ 76 w 166"/>
                <a:gd name="T27" fmla="*/ 424 h 456"/>
                <a:gd name="T28" fmla="*/ 104 w 166"/>
                <a:gd name="T29" fmla="*/ 445 h 456"/>
                <a:gd name="T30" fmla="*/ 120 w 166"/>
                <a:gd name="T31" fmla="*/ 443 h 456"/>
                <a:gd name="T32" fmla="*/ 120 w 166"/>
                <a:gd name="T33" fmla="*/ 423 h 456"/>
                <a:gd name="T34" fmla="*/ 131 w 166"/>
                <a:gd name="T35" fmla="*/ 413 h 456"/>
                <a:gd name="T36" fmla="*/ 145 w 166"/>
                <a:gd name="T37" fmla="*/ 407 h 456"/>
                <a:gd name="T38" fmla="*/ 153 w 166"/>
                <a:gd name="T39" fmla="*/ 402 h 456"/>
                <a:gd name="T40" fmla="*/ 160 w 166"/>
                <a:gd name="T41" fmla="*/ 393 h 456"/>
                <a:gd name="T42" fmla="*/ 166 w 166"/>
                <a:gd name="T43" fmla="*/ 375 h 456"/>
                <a:gd name="T44" fmla="*/ 165 w 166"/>
                <a:gd name="T45" fmla="*/ 350 h 456"/>
                <a:gd name="T46" fmla="*/ 158 w 166"/>
                <a:gd name="T47" fmla="*/ 328 h 456"/>
                <a:gd name="T48" fmla="*/ 148 w 166"/>
                <a:gd name="T49" fmla="*/ 307 h 456"/>
                <a:gd name="T50" fmla="*/ 141 w 166"/>
                <a:gd name="T51" fmla="*/ 284 h 456"/>
                <a:gd name="T52" fmla="*/ 135 w 166"/>
                <a:gd name="T53" fmla="*/ 269 h 456"/>
                <a:gd name="T54" fmla="*/ 118 w 166"/>
                <a:gd name="T55" fmla="*/ 251 h 456"/>
                <a:gd name="T56" fmla="*/ 97 w 166"/>
                <a:gd name="T57" fmla="*/ 224 h 456"/>
                <a:gd name="T58" fmla="*/ 85 w 166"/>
                <a:gd name="T59" fmla="*/ 206 h 456"/>
                <a:gd name="T60" fmla="*/ 80 w 166"/>
                <a:gd name="T61" fmla="*/ 195 h 456"/>
                <a:gd name="T62" fmla="*/ 81 w 166"/>
                <a:gd name="T63" fmla="*/ 177 h 456"/>
                <a:gd name="T64" fmla="*/ 88 w 166"/>
                <a:gd name="T65" fmla="*/ 147 h 456"/>
                <a:gd name="T66" fmla="*/ 96 w 166"/>
                <a:gd name="T67" fmla="*/ 129 h 456"/>
                <a:gd name="T68" fmla="*/ 98 w 166"/>
                <a:gd name="T69" fmla="*/ 113 h 456"/>
                <a:gd name="T70" fmla="*/ 95 w 166"/>
                <a:gd name="T71" fmla="*/ 82 h 456"/>
                <a:gd name="T72" fmla="*/ 92 w 166"/>
                <a:gd name="T73" fmla="*/ 45 h 456"/>
                <a:gd name="T74" fmla="*/ 89 w 166"/>
                <a:gd name="T75" fmla="*/ 18 h 456"/>
                <a:gd name="T76" fmla="*/ 71 w 166"/>
                <a:gd name="T77" fmla="*/ 8 h 456"/>
                <a:gd name="T78" fmla="*/ 33 w 166"/>
                <a:gd name="T79" fmla="*/ 4 h 456"/>
                <a:gd name="T80" fmla="*/ 12 w 166"/>
                <a:gd name="T81" fmla="*/ 10 h 456"/>
                <a:gd name="T82" fmla="*/ 22 w 166"/>
                <a:gd name="T83" fmla="*/ 25 h 456"/>
                <a:gd name="T84" fmla="*/ 33 w 166"/>
                <a:gd name="T85" fmla="*/ 30 h 456"/>
                <a:gd name="T86" fmla="*/ 40 w 166"/>
                <a:gd name="T87" fmla="*/ 44 h 456"/>
                <a:gd name="T88" fmla="*/ 40 w 166"/>
                <a:gd name="T89" fmla="*/ 64 h 456"/>
                <a:gd name="T90" fmla="*/ 40 w 166"/>
                <a:gd name="T91" fmla="*/ 78 h 456"/>
                <a:gd name="T92" fmla="*/ 36 w 166"/>
                <a:gd name="T93" fmla="*/ 85 h 456"/>
                <a:gd name="T94" fmla="*/ 29 w 166"/>
                <a:gd name="T95" fmla="*/ 95 h 456"/>
                <a:gd name="T96" fmla="*/ 15 w 166"/>
                <a:gd name="T97" fmla="*/ 109 h 456"/>
                <a:gd name="T98" fmla="*/ 3 w 166"/>
                <a:gd name="T99" fmla="*/ 122 h 456"/>
                <a:gd name="T100" fmla="*/ 7 w 166"/>
                <a:gd name="T101" fmla="*/ 277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14" name="Freeform 475"/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4329113" y="2533650"/>
              <a:ext cx="14287" cy="57150"/>
            </a:xfrm>
            <a:custGeom>
              <a:avLst/>
              <a:gdLst>
                <a:gd name="T0" fmla="*/ 27 w 27"/>
                <a:gd name="T1" fmla="*/ 0 h 19"/>
                <a:gd name="T2" fmla="*/ 27 w 27"/>
                <a:gd name="T3" fmla="*/ 12 h 19"/>
                <a:gd name="T4" fmla="*/ 27 w 27"/>
                <a:gd name="T5" fmla="*/ 19 h 19"/>
                <a:gd name="T6" fmla="*/ 9 w 27"/>
                <a:gd name="T7" fmla="*/ 19 h 19"/>
                <a:gd name="T8" fmla="*/ 0 w 27"/>
                <a:gd name="T9" fmla="*/ 19 h 19"/>
                <a:gd name="T10" fmla="*/ 9 w 27"/>
                <a:gd name="T11" fmla="*/ 12 h 19"/>
                <a:gd name="T12" fmla="*/ 27 w 27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15" name="Freeform 476"/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4648200" y="4154488"/>
              <a:ext cx="188913" cy="217487"/>
            </a:xfrm>
            <a:custGeom>
              <a:avLst/>
              <a:gdLst>
                <a:gd name="T0" fmla="*/ 284 w 438"/>
                <a:gd name="T1" fmla="*/ 8 h 406"/>
                <a:gd name="T2" fmla="*/ 320 w 438"/>
                <a:gd name="T3" fmla="*/ 27 h 406"/>
                <a:gd name="T4" fmla="*/ 363 w 438"/>
                <a:gd name="T5" fmla="*/ 47 h 406"/>
                <a:gd name="T6" fmla="*/ 395 w 438"/>
                <a:gd name="T7" fmla="*/ 58 h 406"/>
                <a:gd name="T8" fmla="*/ 416 w 438"/>
                <a:gd name="T9" fmla="*/ 61 h 406"/>
                <a:gd name="T10" fmla="*/ 425 w 438"/>
                <a:gd name="T11" fmla="*/ 81 h 406"/>
                <a:gd name="T12" fmla="*/ 429 w 438"/>
                <a:gd name="T13" fmla="*/ 120 h 406"/>
                <a:gd name="T14" fmla="*/ 434 w 438"/>
                <a:gd name="T15" fmla="*/ 157 h 406"/>
                <a:gd name="T16" fmla="*/ 438 w 438"/>
                <a:gd name="T17" fmla="*/ 195 h 406"/>
                <a:gd name="T18" fmla="*/ 438 w 438"/>
                <a:gd name="T19" fmla="*/ 223 h 406"/>
                <a:gd name="T20" fmla="*/ 435 w 438"/>
                <a:gd name="T21" fmla="*/ 237 h 406"/>
                <a:gd name="T22" fmla="*/ 425 w 438"/>
                <a:gd name="T23" fmla="*/ 259 h 406"/>
                <a:gd name="T24" fmla="*/ 407 w 438"/>
                <a:gd name="T25" fmla="*/ 287 h 406"/>
                <a:gd name="T26" fmla="*/ 391 w 438"/>
                <a:gd name="T27" fmla="*/ 307 h 406"/>
                <a:gd name="T28" fmla="*/ 381 w 438"/>
                <a:gd name="T29" fmla="*/ 320 h 406"/>
                <a:gd name="T30" fmla="*/ 374 w 438"/>
                <a:gd name="T31" fmla="*/ 332 h 406"/>
                <a:gd name="T32" fmla="*/ 372 w 438"/>
                <a:gd name="T33" fmla="*/ 352 h 406"/>
                <a:gd name="T34" fmla="*/ 359 w 438"/>
                <a:gd name="T35" fmla="*/ 372 h 406"/>
                <a:gd name="T36" fmla="*/ 321 w 438"/>
                <a:gd name="T37" fmla="*/ 401 h 406"/>
                <a:gd name="T38" fmla="*/ 205 w 438"/>
                <a:gd name="T39" fmla="*/ 388 h 406"/>
                <a:gd name="T40" fmla="*/ 182 w 438"/>
                <a:gd name="T41" fmla="*/ 379 h 406"/>
                <a:gd name="T42" fmla="*/ 165 w 438"/>
                <a:gd name="T43" fmla="*/ 370 h 406"/>
                <a:gd name="T44" fmla="*/ 150 w 438"/>
                <a:gd name="T45" fmla="*/ 359 h 406"/>
                <a:gd name="T46" fmla="*/ 139 w 438"/>
                <a:gd name="T47" fmla="*/ 346 h 406"/>
                <a:gd name="T48" fmla="*/ 124 w 438"/>
                <a:gd name="T49" fmla="*/ 322 h 406"/>
                <a:gd name="T50" fmla="*/ 108 w 438"/>
                <a:gd name="T51" fmla="*/ 296 h 406"/>
                <a:gd name="T52" fmla="*/ 94 w 438"/>
                <a:gd name="T53" fmla="*/ 279 h 406"/>
                <a:gd name="T54" fmla="*/ 72 w 438"/>
                <a:gd name="T55" fmla="*/ 259 h 406"/>
                <a:gd name="T56" fmla="*/ 44 w 438"/>
                <a:gd name="T57" fmla="*/ 234 h 406"/>
                <a:gd name="T58" fmla="*/ 24 w 438"/>
                <a:gd name="T59" fmla="*/ 213 h 406"/>
                <a:gd name="T60" fmla="*/ 13 w 438"/>
                <a:gd name="T61" fmla="*/ 195 h 406"/>
                <a:gd name="T62" fmla="*/ 4 w 438"/>
                <a:gd name="T63" fmla="*/ 176 h 406"/>
                <a:gd name="T64" fmla="*/ 0 w 438"/>
                <a:gd name="T65" fmla="*/ 154 h 406"/>
                <a:gd name="T66" fmla="*/ 18 w 438"/>
                <a:gd name="T67" fmla="*/ 141 h 406"/>
                <a:gd name="T68" fmla="*/ 40 w 438"/>
                <a:gd name="T69" fmla="*/ 141 h 406"/>
                <a:gd name="T70" fmla="*/ 53 w 438"/>
                <a:gd name="T71" fmla="*/ 141 h 406"/>
                <a:gd name="T72" fmla="*/ 63 w 438"/>
                <a:gd name="T73" fmla="*/ 138 h 406"/>
                <a:gd name="T74" fmla="*/ 77 w 438"/>
                <a:gd name="T75" fmla="*/ 131 h 406"/>
                <a:gd name="T76" fmla="*/ 99 w 438"/>
                <a:gd name="T77" fmla="*/ 108 h 406"/>
                <a:gd name="T78" fmla="*/ 117 w 438"/>
                <a:gd name="T79" fmla="*/ 87 h 406"/>
                <a:gd name="T80" fmla="*/ 130 w 438"/>
                <a:gd name="T81" fmla="*/ 80 h 406"/>
                <a:gd name="T82" fmla="*/ 150 w 438"/>
                <a:gd name="T83" fmla="*/ 71 h 406"/>
                <a:gd name="T84" fmla="*/ 179 w 438"/>
                <a:gd name="T85" fmla="*/ 60 h 406"/>
                <a:gd name="T86" fmla="*/ 203 w 438"/>
                <a:gd name="T87" fmla="*/ 50 h 406"/>
                <a:gd name="T88" fmla="*/ 211 w 438"/>
                <a:gd name="T89" fmla="*/ 43 h 406"/>
                <a:gd name="T90" fmla="*/ 210 w 438"/>
                <a:gd name="T91" fmla="*/ 38 h 406"/>
                <a:gd name="T92" fmla="*/ 211 w 438"/>
                <a:gd name="T93" fmla="*/ 30 h 406"/>
                <a:gd name="T94" fmla="*/ 213 w 438"/>
                <a:gd name="T95" fmla="*/ 17 h 406"/>
                <a:gd name="T96" fmla="*/ 217 w 438"/>
                <a:gd name="T97" fmla="*/ 12 h 406"/>
                <a:gd name="T98" fmla="*/ 225 w 438"/>
                <a:gd name="T99" fmla="*/ 12 h 406"/>
                <a:gd name="T100" fmla="*/ 232 w 438"/>
                <a:gd name="T101" fmla="*/ 9 h 406"/>
                <a:gd name="T102" fmla="*/ 236 w 438"/>
                <a:gd name="T103" fmla="*/ 4 h 406"/>
                <a:gd name="T104" fmla="*/ 244 w 438"/>
                <a:gd name="T105" fmla="*/ 2 h 406"/>
                <a:gd name="T106" fmla="*/ 251 w 438"/>
                <a:gd name="T107" fmla="*/ 3 h 406"/>
                <a:gd name="T108" fmla="*/ 264 w 438"/>
                <a:gd name="T109" fmla="*/ 1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16" name="Freeform 477"/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4560888" y="3930650"/>
              <a:ext cx="293687" cy="300038"/>
            </a:xfrm>
            <a:custGeom>
              <a:avLst/>
              <a:gdLst>
                <a:gd name="T0" fmla="*/ 513 w 678"/>
                <a:gd name="T1" fmla="*/ 8 h 574"/>
                <a:gd name="T2" fmla="*/ 552 w 678"/>
                <a:gd name="T3" fmla="*/ 26 h 574"/>
                <a:gd name="T4" fmla="*/ 645 w 678"/>
                <a:gd name="T5" fmla="*/ 63 h 574"/>
                <a:gd name="T6" fmla="*/ 660 w 678"/>
                <a:gd name="T7" fmla="*/ 88 h 574"/>
                <a:gd name="T8" fmla="*/ 678 w 678"/>
                <a:gd name="T9" fmla="*/ 94 h 574"/>
                <a:gd name="T10" fmla="*/ 678 w 678"/>
                <a:gd name="T11" fmla="*/ 127 h 574"/>
                <a:gd name="T12" fmla="*/ 677 w 678"/>
                <a:gd name="T13" fmla="*/ 144 h 574"/>
                <a:gd name="T14" fmla="*/ 667 w 678"/>
                <a:gd name="T15" fmla="*/ 158 h 574"/>
                <a:gd name="T16" fmla="*/ 647 w 678"/>
                <a:gd name="T17" fmla="*/ 178 h 574"/>
                <a:gd name="T18" fmla="*/ 638 w 678"/>
                <a:gd name="T19" fmla="*/ 346 h 574"/>
                <a:gd name="T20" fmla="*/ 461 w 678"/>
                <a:gd name="T21" fmla="*/ 388 h 574"/>
                <a:gd name="T22" fmla="*/ 461 w 678"/>
                <a:gd name="T23" fmla="*/ 415 h 574"/>
                <a:gd name="T24" fmla="*/ 455 w 678"/>
                <a:gd name="T25" fmla="*/ 435 h 574"/>
                <a:gd name="T26" fmla="*/ 444 w 678"/>
                <a:gd name="T27" fmla="*/ 435 h 574"/>
                <a:gd name="T28" fmla="*/ 434 w 678"/>
                <a:gd name="T29" fmla="*/ 440 h 574"/>
                <a:gd name="T30" fmla="*/ 425 w 678"/>
                <a:gd name="T31" fmla="*/ 445 h 574"/>
                <a:gd name="T32" fmla="*/ 414 w 678"/>
                <a:gd name="T33" fmla="*/ 447 h 574"/>
                <a:gd name="T34" fmla="*/ 411 w 678"/>
                <a:gd name="T35" fmla="*/ 463 h 574"/>
                <a:gd name="T36" fmla="*/ 410 w 678"/>
                <a:gd name="T37" fmla="*/ 474 h 574"/>
                <a:gd name="T38" fmla="*/ 403 w 678"/>
                <a:gd name="T39" fmla="*/ 483 h 574"/>
                <a:gd name="T40" fmla="*/ 365 w 678"/>
                <a:gd name="T41" fmla="*/ 498 h 574"/>
                <a:gd name="T42" fmla="*/ 330 w 678"/>
                <a:gd name="T43" fmla="*/ 513 h 574"/>
                <a:gd name="T44" fmla="*/ 313 w 678"/>
                <a:gd name="T45" fmla="*/ 525 h 574"/>
                <a:gd name="T46" fmla="*/ 277 w 678"/>
                <a:gd name="T47" fmla="*/ 564 h 574"/>
                <a:gd name="T48" fmla="*/ 258 w 678"/>
                <a:gd name="T49" fmla="*/ 573 h 574"/>
                <a:gd name="T50" fmla="*/ 238 w 678"/>
                <a:gd name="T51" fmla="*/ 574 h 574"/>
                <a:gd name="T52" fmla="*/ 193 w 678"/>
                <a:gd name="T53" fmla="*/ 574 h 574"/>
                <a:gd name="T54" fmla="*/ 186 w 678"/>
                <a:gd name="T55" fmla="*/ 559 h 574"/>
                <a:gd name="T56" fmla="*/ 165 w 678"/>
                <a:gd name="T57" fmla="*/ 547 h 574"/>
                <a:gd name="T58" fmla="*/ 133 w 678"/>
                <a:gd name="T59" fmla="*/ 545 h 574"/>
                <a:gd name="T60" fmla="*/ 93 w 678"/>
                <a:gd name="T61" fmla="*/ 556 h 574"/>
                <a:gd name="T62" fmla="*/ 33 w 678"/>
                <a:gd name="T63" fmla="*/ 527 h 574"/>
                <a:gd name="T64" fmla="*/ 0 w 678"/>
                <a:gd name="T65" fmla="*/ 285 h 574"/>
                <a:gd name="T66" fmla="*/ 73 w 678"/>
                <a:gd name="T67" fmla="*/ 286 h 574"/>
                <a:gd name="T68" fmla="*/ 103 w 678"/>
                <a:gd name="T69" fmla="*/ 282 h 574"/>
                <a:gd name="T70" fmla="*/ 119 w 678"/>
                <a:gd name="T71" fmla="*/ 275 h 574"/>
                <a:gd name="T72" fmla="*/ 129 w 678"/>
                <a:gd name="T73" fmla="*/ 256 h 574"/>
                <a:gd name="T74" fmla="*/ 131 w 678"/>
                <a:gd name="T75" fmla="*/ 229 h 574"/>
                <a:gd name="T76" fmla="*/ 126 w 678"/>
                <a:gd name="T77" fmla="*/ 185 h 574"/>
                <a:gd name="T78" fmla="*/ 130 w 678"/>
                <a:gd name="T79" fmla="*/ 165 h 574"/>
                <a:gd name="T80" fmla="*/ 140 w 678"/>
                <a:gd name="T81" fmla="*/ 171 h 574"/>
                <a:gd name="T82" fmla="*/ 174 w 678"/>
                <a:gd name="T83" fmla="*/ 175 h 574"/>
                <a:gd name="T84" fmla="*/ 188 w 678"/>
                <a:gd name="T85" fmla="*/ 186 h 574"/>
                <a:gd name="T86" fmla="*/ 195 w 678"/>
                <a:gd name="T87" fmla="*/ 201 h 574"/>
                <a:gd name="T88" fmla="*/ 208 w 678"/>
                <a:gd name="T89" fmla="*/ 210 h 574"/>
                <a:gd name="T90" fmla="*/ 241 w 678"/>
                <a:gd name="T91" fmla="*/ 217 h 574"/>
                <a:gd name="T92" fmla="*/ 269 w 678"/>
                <a:gd name="T93" fmla="*/ 214 h 574"/>
                <a:gd name="T94" fmla="*/ 301 w 678"/>
                <a:gd name="T95" fmla="*/ 199 h 574"/>
                <a:gd name="T96" fmla="*/ 319 w 678"/>
                <a:gd name="T97" fmla="*/ 196 h 574"/>
                <a:gd name="T98" fmla="*/ 331 w 678"/>
                <a:gd name="T99" fmla="*/ 193 h 574"/>
                <a:gd name="T100" fmla="*/ 343 w 678"/>
                <a:gd name="T101" fmla="*/ 190 h 574"/>
                <a:gd name="T102" fmla="*/ 357 w 678"/>
                <a:gd name="T103" fmla="*/ 182 h 574"/>
                <a:gd name="T104" fmla="*/ 368 w 678"/>
                <a:gd name="T105" fmla="*/ 168 h 574"/>
                <a:gd name="T106" fmla="*/ 383 w 678"/>
                <a:gd name="T107" fmla="*/ 126 h 574"/>
                <a:gd name="T108" fmla="*/ 403 w 678"/>
                <a:gd name="T109" fmla="*/ 47 h 574"/>
                <a:gd name="T110" fmla="*/ 414 w 678"/>
                <a:gd name="T111" fmla="*/ 10 h 574"/>
                <a:gd name="T112" fmla="*/ 431 w 678"/>
                <a:gd name="T113" fmla="*/ 6 h 574"/>
                <a:gd name="T114" fmla="*/ 453 w 678"/>
                <a:gd name="T115" fmla="*/ 8 h 574"/>
                <a:gd name="T116" fmla="*/ 482 w 678"/>
                <a:gd name="T117" fmla="*/ 1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17" name="Freeform 478"/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4297363" y="4203700"/>
              <a:ext cx="350837" cy="381000"/>
            </a:xfrm>
            <a:custGeom>
              <a:avLst/>
              <a:gdLst>
                <a:gd name="T0" fmla="*/ 797 w 810"/>
                <a:gd name="T1" fmla="*/ 42 h 727"/>
                <a:gd name="T2" fmla="*/ 766 w 810"/>
                <a:gd name="T3" fmla="*/ 26 h 727"/>
                <a:gd name="T4" fmla="*/ 718 w 810"/>
                <a:gd name="T5" fmla="*/ 33 h 727"/>
                <a:gd name="T6" fmla="*/ 634 w 810"/>
                <a:gd name="T7" fmla="*/ 44 h 727"/>
                <a:gd name="T8" fmla="*/ 604 w 810"/>
                <a:gd name="T9" fmla="*/ 55 h 727"/>
                <a:gd name="T10" fmla="*/ 280 w 810"/>
                <a:gd name="T11" fmla="*/ 40 h 727"/>
                <a:gd name="T12" fmla="*/ 232 w 810"/>
                <a:gd name="T13" fmla="*/ 37 h 727"/>
                <a:gd name="T14" fmla="*/ 172 w 810"/>
                <a:gd name="T15" fmla="*/ 17 h 727"/>
                <a:gd name="T16" fmla="*/ 116 w 810"/>
                <a:gd name="T17" fmla="*/ 0 h 727"/>
                <a:gd name="T18" fmla="*/ 83 w 810"/>
                <a:gd name="T19" fmla="*/ 5 h 727"/>
                <a:gd name="T20" fmla="*/ 53 w 810"/>
                <a:gd name="T21" fmla="*/ 24 h 727"/>
                <a:gd name="T22" fmla="*/ 0 w 810"/>
                <a:gd name="T23" fmla="*/ 55 h 727"/>
                <a:gd name="T24" fmla="*/ 7 w 810"/>
                <a:gd name="T25" fmla="*/ 68 h 727"/>
                <a:gd name="T26" fmla="*/ 26 w 810"/>
                <a:gd name="T27" fmla="*/ 74 h 727"/>
                <a:gd name="T28" fmla="*/ 36 w 810"/>
                <a:gd name="T29" fmla="*/ 129 h 727"/>
                <a:gd name="T30" fmla="*/ 60 w 810"/>
                <a:gd name="T31" fmla="*/ 192 h 727"/>
                <a:gd name="T32" fmla="*/ 109 w 810"/>
                <a:gd name="T33" fmla="*/ 276 h 727"/>
                <a:gd name="T34" fmla="*/ 133 w 810"/>
                <a:gd name="T35" fmla="*/ 300 h 727"/>
                <a:gd name="T36" fmla="*/ 159 w 810"/>
                <a:gd name="T37" fmla="*/ 302 h 727"/>
                <a:gd name="T38" fmla="*/ 159 w 810"/>
                <a:gd name="T39" fmla="*/ 332 h 727"/>
                <a:gd name="T40" fmla="*/ 152 w 810"/>
                <a:gd name="T41" fmla="*/ 359 h 727"/>
                <a:gd name="T42" fmla="*/ 146 w 810"/>
                <a:gd name="T43" fmla="*/ 394 h 727"/>
                <a:gd name="T44" fmla="*/ 150 w 810"/>
                <a:gd name="T45" fmla="*/ 425 h 727"/>
                <a:gd name="T46" fmla="*/ 173 w 810"/>
                <a:gd name="T47" fmla="*/ 484 h 727"/>
                <a:gd name="T48" fmla="*/ 179 w 810"/>
                <a:gd name="T49" fmla="*/ 518 h 727"/>
                <a:gd name="T50" fmla="*/ 187 w 810"/>
                <a:gd name="T51" fmla="*/ 606 h 727"/>
                <a:gd name="T52" fmla="*/ 204 w 810"/>
                <a:gd name="T53" fmla="*/ 647 h 727"/>
                <a:gd name="T54" fmla="*/ 231 w 810"/>
                <a:gd name="T55" fmla="*/ 690 h 727"/>
                <a:gd name="T56" fmla="*/ 245 w 810"/>
                <a:gd name="T57" fmla="*/ 700 h 727"/>
                <a:gd name="T58" fmla="*/ 259 w 810"/>
                <a:gd name="T59" fmla="*/ 715 h 727"/>
                <a:gd name="T60" fmla="*/ 265 w 810"/>
                <a:gd name="T61" fmla="*/ 678 h 727"/>
                <a:gd name="T62" fmla="*/ 308 w 810"/>
                <a:gd name="T63" fmla="*/ 696 h 727"/>
                <a:gd name="T64" fmla="*/ 328 w 810"/>
                <a:gd name="T65" fmla="*/ 713 h 727"/>
                <a:gd name="T66" fmla="*/ 372 w 810"/>
                <a:gd name="T67" fmla="*/ 726 h 727"/>
                <a:gd name="T68" fmla="*/ 407 w 810"/>
                <a:gd name="T69" fmla="*/ 723 h 727"/>
                <a:gd name="T70" fmla="*/ 429 w 810"/>
                <a:gd name="T71" fmla="*/ 710 h 727"/>
                <a:gd name="T72" fmla="*/ 452 w 810"/>
                <a:gd name="T73" fmla="*/ 675 h 727"/>
                <a:gd name="T74" fmla="*/ 463 w 810"/>
                <a:gd name="T75" fmla="*/ 529 h 727"/>
                <a:gd name="T76" fmla="*/ 465 w 810"/>
                <a:gd name="T77" fmla="*/ 480 h 727"/>
                <a:gd name="T78" fmla="*/ 471 w 810"/>
                <a:gd name="T79" fmla="*/ 469 h 727"/>
                <a:gd name="T80" fmla="*/ 463 w 810"/>
                <a:gd name="T81" fmla="*/ 426 h 727"/>
                <a:gd name="T82" fmla="*/ 469 w 810"/>
                <a:gd name="T83" fmla="*/ 368 h 727"/>
                <a:gd name="T84" fmla="*/ 500 w 810"/>
                <a:gd name="T85" fmla="*/ 330 h 727"/>
                <a:gd name="T86" fmla="*/ 525 w 810"/>
                <a:gd name="T87" fmla="*/ 320 h 727"/>
                <a:gd name="T88" fmla="*/ 538 w 810"/>
                <a:gd name="T89" fmla="*/ 232 h 727"/>
                <a:gd name="T90" fmla="*/ 551 w 810"/>
                <a:gd name="T91" fmla="*/ 148 h 727"/>
                <a:gd name="T92" fmla="*/ 541 w 810"/>
                <a:gd name="T93" fmla="*/ 124 h 727"/>
                <a:gd name="T94" fmla="*/ 531 w 810"/>
                <a:gd name="T95" fmla="*/ 99 h 727"/>
                <a:gd name="T96" fmla="*/ 539 w 810"/>
                <a:gd name="T97" fmla="*/ 86 h 727"/>
                <a:gd name="T98" fmla="*/ 617 w 810"/>
                <a:gd name="T99" fmla="*/ 80 h 727"/>
                <a:gd name="T100" fmla="*/ 708 w 810"/>
                <a:gd name="T101" fmla="*/ 63 h 727"/>
                <a:gd name="T102" fmla="*/ 803 w 810"/>
                <a:gd name="T103" fmla="*/ 61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18" name="Freeform 479"/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3576638" y="3133725"/>
              <a:ext cx="161925" cy="141288"/>
            </a:xfrm>
            <a:custGeom>
              <a:avLst/>
              <a:gdLst>
                <a:gd name="T0" fmla="*/ 203 w 365"/>
                <a:gd name="T1" fmla="*/ 250 h 271"/>
                <a:gd name="T2" fmla="*/ 163 w 365"/>
                <a:gd name="T3" fmla="*/ 246 h 271"/>
                <a:gd name="T4" fmla="*/ 121 w 365"/>
                <a:gd name="T5" fmla="*/ 247 h 271"/>
                <a:gd name="T6" fmla="*/ 92 w 365"/>
                <a:gd name="T7" fmla="*/ 250 h 271"/>
                <a:gd name="T8" fmla="*/ 74 w 365"/>
                <a:gd name="T9" fmla="*/ 255 h 271"/>
                <a:gd name="T10" fmla="*/ 26 w 365"/>
                <a:gd name="T11" fmla="*/ 271 h 271"/>
                <a:gd name="T12" fmla="*/ 20 w 365"/>
                <a:gd name="T13" fmla="*/ 270 h 271"/>
                <a:gd name="T14" fmla="*/ 17 w 365"/>
                <a:gd name="T15" fmla="*/ 266 h 271"/>
                <a:gd name="T16" fmla="*/ 18 w 365"/>
                <a:gd name="T17" fmla="*/ 254 h 271"/>
                <a:gd name="T18" fmla="*/ 26 w 365"/>
                <a:gd name="T19" fmla="*/ 228 h 271"/>
                <a:gd name="T20" fmla="*/ 61 w 365"/>
                <a:gd name="T21" fmla="*/ 226 h 271"/>
                <a:gd name="T22" fmla="*/ 89 w 365"/>
                <a:gd name="T23" fmla="*/ 222 h 271"/>
                <a:gd name="T24" fmla="*/ 115 w 365"/>
                <a:gd name="T25" fmla="*/ 218 h 271"/>
                <a:gd name="T26" fmla="*/ 146 w 365"/>
                <a:gd name="T27" fmla="*/ 216 h 271"/>
                <a:gd name="T28" fmla="*/ 182 w 365"/>
                <a:gd name="T29" fmla="*/ 218 h 271"/>
                <a:gd name="T30" fmla="*/ 199 w 365"/>
                <a:gd name="T31" fmla="*/ 218 h 271"/>
                <a:gd name="T32" fmla="*/ 219 w 365"/>
                <a:gd name="T33" fmla="*/ 216 h 271"/>
                <a:gd name="T34" fmla="*/ 215 w 365"/>
                <a:gd name="T35" fmla="*/ 208 h 271"/>
                <a:gd name="T36" fmla="*/ 210 w 365"/>
                <a:gd name="T37" fmla="*/ 201 h 271"/>
                <a:gd name="T38" fmla="*/ 195 w 365"/>
                <a:gd name="T39" fmla="*/ 194 h 271"/>
                <a:gd name="T40" fmla="*/ 175 w 365"/>
                <a:gd name="T41" fmla="*/ 191 h 271"/>
                <a:gd name="T42" fmla="*/ 152 w 365"/>
                <a:gd name="T43" fmla="*/ 190 h 271"/>
                <a:gd name="T44" fmla="*/ 93 w 365"/>
                <a:gd name="T45" fmla="*/ 192 h 271"/>
                <a:gd name="T46" fmla="*/ 64 w 365"/>
                <a:gd name="T47" fmla="*/ 196 h 271"/>
                <a:gd name="T48" fmla="*/ 33 w 365"/>
                <a:gd name="T49" fmla="*/ 203 h 271"/>
                <a:gd name="T50" fmla="*/ 38 w 365"/>
                <a:gd name="T51" fmla="*/ 183 h 271"/>
                <a:gd name="T52" fmla="*/ 39 w 365"/>
                <a:gd name="T53" fmla="*/ 172 h 271"/>
                <a:gd name="T54" fmla="*/ 26 w 365"/>
                <a:gd name="T55" fmla="*/ 164 h 271"/>
                <a:gd name="T56" fmla="*/ 13 w 365"/>
                <a:gd name="T57" fmla="*/ 160 h 271"/>
                <a:gd name="T58" fmla="*/ 11 w 365"/>
                <a:gd name="T59" fmla="*/ 147 h 271"/>
                <a:gd name="T60" fmla="*/ 6 w 365"/>
                <a:gd name="T61" fmla="*/ 143 h 271"/>
                <a:gd name="T62" fmla="*/ 2 w 365"/>
                <a:gd name="T63" fmla="*/ 141 h 271"/>
                <a:gd name="T64" fmla="*/ 0 w 365"/>
                <a:gd name="T65" fmla="*/ 135 h 271"/>
                <a:gd name="T66" fmla="*/ 5 w 365"/>
                <a:gd name="T67" fmla="*/ 115 h 271"/>
                <a:gd name="T68" fmla="*/ 17 w 365"/>
                <a:gd name="T69" fmla="*/ 92 h 271"/>
                <a:gd name="T70" fmla="*/ 30 w 365"/>
                <a:gd name="T71" fmla="*/ 69 h 271"/>
                <a:gd name="T72" fmla="*/ 39 w 365"/>
                <a:gd name="T73" fmla="*/ 49 h 271"/>
                <a:gd name="T74" fmla="*/ 48 w 365"/>
                <a:gd name="T75" fmla="*/ 42 h 271"/>
                <a:gd name="T76" fmla="*/ 49 w 365"/>
                <a:gd name="T77" fmla="*/ 48 h 271"/>
                <a:gd name="T78" fmla="*/ 52 w 365"/>
                <a:gd name="T79" fmla="*/ 36 h 271"/>
                <a:gd name="T80" fmla="*/ 75 w 365"/>
                <a:gd name="T81" fmla="*/ 31 h 271"/>
                <a:gd name="T82" fmla="*/ 114 w 365"/>
                <a:gd name="T83" fmla="*/ 18 h 271"/>
                <a:gd name="T84" fmla="*/ 165 w 365"/>
                <a:gd name="T85" fmla="*/ 0 h 271"/>
                <a:gd name="T86" fmla="*/ 184 w 365"/>
                <a:gd name="T87" fmla="*/ 15 h 271"/>
                <a:gd name="T88" fmla="*/ 202 w 365"/>
                <a:gd name="T89" fmla="*/ 24 h 271"/>
                <a:gd name="T90" fmla="*/ 220 w 365"/>
                <a:gd name="T91" fmla="*/ 29 h 271"/>
                <a:gd name="T92" fmla="*/ 239 w 365"/>
                <a:gd name="T93" fmla="*/ 30 h 271"/>
                <a:gd name="T94" fmla="*/ 241 w 365"/>
                <a:gd name="T95" fmla="*/ 52 h 271"/>
                <a:gd name="T96" fmla="*/ 247 w 365"/>
                <a:gd name="T97" fmla="*/ 69 h 271"/>
                <a:gd name="T98" fmla="*/ 254 w 365"/>
                <a:gd name="T99" fmla="*/ 84 h 271"/>
                <a:gd name="T100" fmla="*/ 264 w 365"/>
                <a:gd name="T101" fmla="*/ 95 h 271"/>
                <a:gd name="T102" fmla="*/ 305 w 365"/>
                <a:gd name="T103" fmla="*/ 129 h 271"/>
                <a:gd name="T104" fmla="*/ 352 w 365"/>
                <a:gd name="T105" fmla="*/ 234 h 271"/>
                <a:gd name="T106" fmla="*/ 359 w 365"/>
                <a:gd name="T107" fmla="*/ 257 h 271"/>
                <a:gd name="T108" fmla="*/ 365 w 365"/>
                <a:gd name="T109" fmla="*/ 271 h 271"/>
                <a:gd name="T110" fmla="*/ 321 w 365"/>
                <a:gd name="T111" fmla="*/ 259 h 271"/>
                <a:gd name="T112" fmla="*/ 275 w 365"/>
                <a:gd name="T113" fmla="*/ 252 h 271"/>
                <a:gd name="T114" fmla="*/ 248 w 365"/>
                <a:gd name="T115" fmla="*/ 251 h 271"/>
                <a:gd name="T116" fmla="*/ 219 w 365"/>
                <a:gd name="T117" fmla="*/ 252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19" name="Freeform 480"/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4749800" y="3695700"/>
              <a:ext cx="269875" cy="334963"/>
            </a:xfrm>
            <a:custGeom>
              <a:avLst/>
              <a:gdLst>
                <a:gd name="T0" fmla="*/ 146 w 624"/>
                <a:gd name="T1" fmla="*/ 12 h 640"/>
                <a:gd name="T2" fmla="*/ 239 w 624"/>
                <a:gd name="T3" fmla="*/ 12 h 640"/>
                <a:gd name="T4" fmla="*/ 287 w 624"/>
                <a:gd name="T5" fmla="*/ 5 h 640"/>
                <a:gd name="T6" fmla="*/ 326 w 624"/>
                <a:gd name="T7" fmla="*/ 22 h 640"/>
                <a:gd name="T8" fmla="*/ 396 w 624"/>
                <a:gd name="T9" fmla="*/ 66 h 640"/>
                <a:gd name="T10" fmla="*/ 465 w 624"/>
                <a:gd name="T11" fmla="*/ 111 h 640"/>
                <a:gd name="T12" fmla="*/ 469 w 624"/>
                <a:gd name="T13" fmla="*/ 131 h 640"/>
                <a:gd name="T14" fmla="*/ 480 w 624"/>
                <a:gd name="T15" fmla="*/ 153 h 640"/>
                <a:gd name="T16" fmla="*/ 497 w 624"/>
                <a:gd name="T17" fmla="*/ 170 h 640"/>
                <a:gd name="T18" fmla="*/ 519 w 624"/>
                <a:gd name="T19" fmla="*/ 183 h 640"/>
                <a:gd name="T20" fmla="*/ 543 w 624"/>
                <a:gd name="T21" fmla="*/ 190 h 640"/>
                <a:gd name="T22" fmla="*/ 554 w 624"/>
                <a:gd name="T23" fmla="*/ 195 h 640"/>
                <a:gd name="T24" fmla="*/ 565 w 624"/>
                <a:gd name="T25" fmla="*/ 205 h 640"/>
                <a:gd name="T26" fmla="*/ 561 w 624"/>
                <a:gd name="T27" fmla="*/ 227 h 640"/>
                <a:gd name="T28" fmla="*/ 537 w 624"/>
                <a:gd name="T29" fmla="*/ 252 h 640"/>
                <a:gd name="T30" fmla="*/ 525 w 624"/>
                <a:gd name="T31" fmla="*/ 271 h 640"/>
                <a:gd name="T32" fmla="*/ 533 w 624"/>
                <a:gd name="T33" fmla="*/ 287 h 640"/>
                <a:gd name="T34" fmla="*/ 547 w 624"/>
                <a:gd name="T35" fmla="*/ 299 h 640"/>
                <a:gd name="T36" fmla="*/ 552 w 624"/>
                <a:gd name="T37" fmla="*/ 425 h 640"/>
                <a:gd name="T38" fmla="*/ 550 w 624"/>
                <a:gd name="T39" fmla="*/ 439 h 640"/>
                <a:gd name="T40" fmla="*/ 558 w 624"/>
                <a:gd name="T41" fmla="*/ 462 h 640"/>
                <a:gd name="T42" fmla="*/ 558 w 624"/>
                <a:gd name="T43" fmla="*/ 489 h 640"/>
                <a:gd name="T44" fmla="*/ 561 w 624"/>
                <a:gd name="T45" fmla="*/ 515 h 640"/>
                <a:gd name="T46" fmla="*/ 594 w 624"/>
                <a:gd name="T47" fmla="*/ 549 h 640"/>
                <a:gd name="T48" fmla="*/ 616 w 624"/>
                <a:gd name="T49" fmla="*/ 579 h 640"/>
                <a:gd name="T50" fmla="*/ 575 w 624"/>
                <a:gd name="T51" fmla="*/ 600 h 640"/>
                <a:gd name="T52" fmla="*/ 491 w 624"/>
                <a:gd name="T53" fmla="*/ 631 h 640"/>
                <a:gd name="T54" fmla="*/ 443 w 624"/>
                <a:gd name="T55" fmla="*/ 638 h 640"/>
                <a:gd name="T56" fmla="*/ 392 w 624"/>
                <a:gd name="T57" fmla="*/ 628 h 640"/>
                <a:gd name="T58" fmla="*/ 339 w 624"/>
                <a:gd name="T59" fmla="*/ 633 h 640"/>
                <a:gd name="T60" fmla="*/ 306 w 624"/>
                <a:gd name="T61" fmla="*/ 628 h 640"/>
                <a:gd name="T62" fmla="*/ 299 w 624"/>
                <a:gd name="T63" fmla="*/ 614 h 640"/>
                <a:gd name="T64" fmla="*/ 294 w 624"/>
                <a:gd name="T65" fmla="*/ 573 h 640"/>
                <a:gd name="T66" fmla="*/ 288 w 624"/>
                <a:gd name="T67" fmla="*/ 529 h 640"/>
                <a:gd name="T68" fmla="*/ 253 w 624"/>
                <a:gd name="T69" fmla="*/ 517 h 640"/>
                <a:gd name="T70" fmla="*/ 185 w 624"/>
                <a:gd name="T71" fmla="*/ 502 h 640"/>
                <a:gd name="T72" fmla="*/ 90 w 624"/>
                <a:gd name="T73" fmla="*/ 459 h 640"/>
                <a:gd name="T74" fmla="*/ 68 w 624"/>
                <a:gd name="T75" fmla="*/ 446 h 640"/>
                <a:gd name="T76" fmla="*/ 66 w 624"/>
                <a:gd name="T77" fmla="*/ 428 h 640"/>
                <a:gd name="T78" fmla="*/ 65 w 624"/>
                <a:gd name="T79" fmla="*/ 402 h 640"/>
                <a:gd name="T80" fmla="*/ 53 w 624"/>
                <a:gd name="T81" fmla="*/ 377 h 640"/>
                <a:gd name="T82" fmla="*/ 41 w 624"/>
                <a:gd name="T83" fmla="*/ 357 h 640"/>
                <a:gd name="T84" fmla="*/ 27 w 624"/>
                <a:gd name="T85" fmla="*/ 347 h 640"/>
                <a:gd name="T86" fmla="*/ 12 w 624"/>
                <a:gd name="T87" fmla="*/ 332 h 640"/>
                <a:gd name="T88" fmla="*/ 5 w 624"/>
                <a:gd name="T89" fmla="*/ 308 h 640"/>
                <a:gd name="T90" fmla="*/ 0 w 624"/>
                <a:gd name="T91" fmla="*/ 262 h 640"/>
                <a:gd name="T92" fmla="*/ 0 w 624"/>
                <a:gd name="T93" fmla="*/ 234 h 640"/>
                <a:gd name="T94" fmla="*/ 10 w 624"/>
                <a:gd name="T95" fmla="*/ 212 h 640"/>
                <a:gd name="T96" fmla="*/ 38 w 624"/>
                <a:gd name="T97" fmla="*/ 195 h 640"/>
                <a:gd name="T98" fmla="*/ 61 w 624"/>
                <a:gd name="T99" fmla="*/ 173 h 640"/>
                <a:gd name="T100" fmla="*/ 77 w 624"/>
                <a:gd name="T101" fmla="*/ 77 h 640"/>
                <a:gd name="T102" fmla="*/ 84 w 624"/>
                <a:gd name="T103" fmla="*/ 43 h 640"/>
                <a:gd name="T104" fmla="*/ 82 w 624"/>
                <a:gd name="T105" fmla="*/ 8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20" name="Freeform 481"/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7313613" y="2209800"/>
              <a:ext cx="19050" cy="57150"/>
            </a:xfrm>
            <a:custGeom>
              <a:avLst/>
              <a:gdLst>
                <a:gd name="T0" fmla="*/ 13 w 52"/>
                <a:gd name="T1" fmla="*/ 50 h 50"/>
                <a:gd name="T2" fmla="*/ 0 w 52"/>
                <a:gd name="T3" fmla="*/ 32 h 50"/>
                <a:gd name="T4" fmla="*/ 2 w 52"/>
                <a:gd name="T5" fmla="*/ 25 h 50"/>
                <a:gd name="T6" fmla="*/ 6 w 52"/>
                <a:gd name="T7" fmla="*/ 18 h 50"/>
                <a:gd name="T8" fmla="*/ 12 w 52"/>
                <a:gd name="T9" fmla="*/ 13 h 50"/>
                <a:gd name="T10" fmla="*/ 18 w 52"/>
                <a:gd name="T11" fmla="*/ 9 h 50"/>
                <a:gd name="T12" fmla="*/ 26 w 52"/>
                <a:gd name="T13" fmla="*/ 5 h 50"/>
                <a:gd name="T14" fmla="*/ 34 w 52"/>
                <a:gd name="T15" fmla="*/ 3 h 50"/>
                <a:gd name="T16" fmla="*/ 43 w 52"/>
                <a:gd name="T17" fmla="*/ 1 h 50"/>
                <a:gd name="T18" fmla="*/ 52 w 52"/>
                <a:gd name="T19" fmla="*/ 0 h 50"/>
                <a:gd name="T20" fmla="*/ 40 w 52"/>
                <a:gd name="T21" fmla="*/ 11 h 50"/>
                <a:gd name="T22" fmla="*/ 27 w 52"/>
                <a:gd name="T23" fmla="*/ 22 h 50"/>
                <a:gd name="T24" fmla="*/ 22 w 52"/>
                <a:gd name="T25" fmla="*/ 30 h 50"/>
                <a:gd name="T26" fmla="*/ 17 w 52"/>
                <a:gd name="T27" fmla="*/ 36 h 50"/>
                <a:gd name="T28" fmla="*/ 14 w 52"/>
                <a:gd name="T29" fmla="*/ 43 h 50"/>
                <a:gd name="T30" fmla="*/ 13 w 52"/>
                <a:gd name="T3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21" name="Freeform 482"/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7172325" y="2211388"/>
              <a:ext cx="141288" cy="125412"/>
            </a:xfrm>
            <a:custGeom>
              <a:avLst/>
              <a:gdLst>
                <a:gd name="T0" fmla="*/ 76 w 320"/>
                <a:gd name="T1" fmla="*/ 231 h 234"/>
                <a:gd name="T2" fmla="*/ 61 w 320"/>
                <a:gd name="T3" fmla="*/ 226 h 234"/>
                <a:gd name="T4" fmla="*/ 66 w 320"/>
                <a:gd name="T5" fmla="*/ 222 h 234"/>
                <a:gd name="T6" fmla="*/ 77 w 320"/>
                <a:gd name="T7" fmla="*/ 217 h 234"/>
                <a:gd name="T8" fmla="*/ 64 w 320"/>
                <a:gd name="T9" fmla="*/ 204 h 234"/>
                <a:gd name="T10" fmla="*/ 43 w 320"/>
                <a:gd name="T11" fmla="*/ 189 h 234"/>
                <a:gd name="T12" fmla="*/ 36 w 320"/>
                <a:gd name="T13" fmla="*/ 179 h 234"/>
                <a:gd name="T14" fmla="*/ 34 w 320"/>
                <a:gd name="T15" fmla="*/ 171 h 234"/>
                <a:gd name="T16" fmla="*/ 34 w 320"/>
                <a:gd name="T17" fmla="*/ 164 h 234"/>
                <a:gd name="T18" fmla="*/ 36 w 320"/>
                <a:gd name="T19" fmla="*/ 157 h 234"/>
                <a:gd name="T20" fmla="*/ 43 w 320"/>
                <a:gd name="T21" fmla="*/ 149 h 234"/>
                <a:gd name="T22" fmla="*/ 56 w 320"/>
                <a:gd name="T23" fmla="*/ 141 h 234"/>
                <a:gd name="T24" fmla="*/ 73 w 320"/>
                <a:gd name="T25" fmla="*/ 137 h 234"/>
                <a:gd name="T26" fmla="*/ 80 w 320"/>
                <a:gd name="T27" fmla="*/ 126 h 234"/>
                <a:gd name="T28" fmla="*/ 67 w 320"/>
                <a:gd name="T29" fmla="*/ 111 h 234"/>
                <a:gd name="T30" fmla="*/ 61 w 320"/>
                <a:gd name="T31" fmla="*/ 102 h 234"/>
                <a:gd name="T32" fmla="*/ 60 w 320"/>
                <a:gd name="T33" fmla="*/ 86 h 234"/>
                <a:gd name="T34" fmla="*/ 55 w 320"/>
                <a:gd name="T35" fmla="*/ 70 h 234"/>
                <a:gd name="T36" fmla="*/ 46 w 320"/>
                <a:gd name="T37" fmla="*/ 46 h 234"/>
                <a:gd name="T38" fmla="*/ 33 w 320"/>
                <a:gd name="T39" fmla="*/ 31 h 234"/>
                <a:gd name="T40" fmla="*/ 20 w 320"/>
                <a:gd name="T41" fmla="*/ 25 h 234"/>
                <a:gd name="T42" fmla="*/ 7 w 320"/>
                <a:gd name="T43" fmla="*/ 10 h 234"/>
                <a:gd name="T44" fmla="*/ 9 w 320"/>
                <a:gd name="T45" fmla="*/ 0 h 234"/>
                <a:gd name="T46" fmla="*/ 24 w 320"/>
                <a:gd name="T47" fmla="*/ 0 h 234"/>
                <a:gd name="T48" fmla="*/ 38 w 320"/>
                <a:gd name="T49" fmla="*/ 3 h 234"/>
                <a:gd name="T50" fmla="*/ 56 w 320"/>
                <a:gd name="T51" fmla="*/ 16 h 234"/>
                <a:gd name="T52" fmla="*/ 78 w 320"/>
                <a:gd name="T53" fmla="*/ 35 h 234"/>
                <a:gd name="T54" fmla="*/ 96 w 320"/>
                <a:gd name="T55" fmla="*/ 48 h 234"/>
                <a:gd name="T56" fmla="*/ 119 w 320"/>
                <a:gd name="T57" fmla="*/ 58 h 234"/>
                <a:gd name="T58" fmla="*/ 152 w 320"/>
                <a:gd name="T59" fmla="*/ 70 h 234"/>
                <a:gd name="T60" fmla="*/ 181 w 320"/>
                <a:gd name="T61" fmla="*/ 79 h 234"/>
                <a:gd name="T62" fmla="*/ 214 w 320"/>
                <a:gd name="T63" fmla="*/ 85 h 234"/>
                <a:gd name="T64" fmla="*/ 236 w 320"/>
                <a:gd name="T65" fmla="*/ 77 h 234"/>
                <a:gd name="T66" fmla="*/ 257 w 320"/>
                <a:gd name="T67" fmla="*/ 83 h 234"/>
                <a:gd name="T68" fmla="*/ 284 w 320"/>
                <a:gd name="T69" fmla="*/ 107 h 234"/>
                <a:gd name="T70" fmla="*/ 305 w 320"/>
                <a:gd name="T71" fmla="*/ 119 h 234"/>
                <a:gd name="T72" fmla="*/ 297 w 320"/>
                <a:gd name="T73" fmla="*/ 133 h 234"/>
                <a:gd name="T74" fmla="*/ 268 w 320"/>
                <a:gd name="T75" fmla="*/ 144 h 234"/>
                <a:gd name="T76" fmla="*/ 249 w 320"/>
                <a:gd name="T77" fmla="*/ 148 h 234"/>
                <a:gd name="T78" fmla="*/ 237 w 320"/>
                <a:gd name="T79" fmla="*/ 159 h 234"/>
                <a:gd name="T80" fmla="*/ 232 w 320"/>
                <a:gd name="T81" fmla="*/ 176 h 234"/>
                <a:gd name="T82" fmla="*/ 231 w 320"/>
                <a:gd name="T83" fmla="*/ 187 h 234"/>
                <a:gd name="T84" fmla="*/ 222 w 320"/>
                <a:gd name="T85" fmla="*/ 192 h 234"/>
                <a:gd name="T86" fmla="*/ 204 w 320"/>
                <a:gd name="T87" fmla="*/ 189 h 234"/>
                <a:gd name="T88" fmla="*/ 186 w 320"/>
                <a:gd name="T89" fmla="*/ 181 h 234"/>
                <a:gd name="T90" fmla="*/ 168 w 320"/>
                <a:gd name="T91" fmla="*/ 170 h 234"/>
                <a:gd name="T92" fmla="*/ 155 w 320"/>
                <a:gd name="T93" fmla="*/ 164 h 234"/>
                <a:gd name="T94" fmla="*/ 145 w 320"/>
                <a:gd name="T95" fmla="*/ 161 h 234"/>
                <a:gd name="T96" fmla="*/ 131 w 320"/>
                <a:gd name="T97" fmla="*/ 162 h 234"/>
                <a:gd name="T98" fmla="*/ 114 w 320"/>
                <a:gd name="T99" fmla="*/ 167 h 234"/>
                <a:gd name="T100" fmla="*/ 100 w 320"/>
                <a:gd name="T101" fmla="*/ 173 h 234"/>
                <a:gd name="T102" fmla="*/ 87 w 320"/>
                <a:gd name="T103" fmla="*/ 178 h 234"/>
                <a:gd name="T104" fmla="*/ 85 w 320"/>
                <a:gd name="T105" fmla="*/ 183 h 234"/>
                <a:gd name="T106" fmla="*/ 96 w 320"/>
                <a:gd name="T107" fmla="*/ 191 h 234"/>
                <a:gd name="T108" fmla="*/ 116 w 320"/>
                <a:gd name="T109" fmla="*/ 200 h 234"/>
                <a:gd name="T110" fmla="*/ 126 w 320"/>
                <a:gd name="T111" fmla="*/ 212 h 234"/>
                <a:gd name="T112" fmla="*/ 113 w 320"/>
                <a:gd name="T113" fmla="*/ 224 h 234"/>
                <a:gd name="T114" fmla="*/ 102 w 320"/>
                <a:gd name="T115" fmla="*/ 231 h 234"/>
                <a:gd name="T116" fmla="*/ 91 w 320"/>
                <a:gd name="T117" fmla="*/ 23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22" name="Freeform 483"/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7142163" y="2565400"/>
              <a:ext cx="52387" cy="57150"/>
            </a:xfrm>
            <a:custGeom>
              <a:avLst/>
              <a:gdLst>
                <a:gd name="T0" fmla="*/ 33 w 125"/>
                <a:gd name="T1" fmla="*/ 19 h 93"/>
                <a:gd name="T2" fmla="*/ 43 w 125"/>
                <a:gd name="T3" fmla="*/ 19 h 93"/>
                <a:gd name="T4" fmla="*/ 52 w 125"/>
                <a:gd name="T5" fmla="*/ 19 h 93"/>
                <a:gd name="T6" fmla="*/ 55 w 125"/>
                <a:gd name="T7" fmla="*/ 19 h 93"/>
                <a:gd name="T8" fmla="*/ 58 w 125"/>
                <a:gd name="T9" fmla="*/ 17 h 93"/>
                <a:gd name="T10" fmla="*/ 61 w 125"/>
                <a:gd name="T11" fmla="*/ 15 h 93"/>
                <a:gd name="T12" fmla="*/ 65 w 125"/>
                <a:gd name="T13" fmla="*/ 11 h 93"/>
                <a:gd name="T14" fmla="*/ 68 w 125"/>
                <a:gd name="T15" fmla="*/ 8 h 93"/>
                <a:gd name="T16" fmla="*/ 70 w 125"/>
                <a:gd name="T17" fmla="*/ 5 h 93"/>
                <a:gd name="T18" fmla="*/ 72 w 125"/>
                <a:gd name="T19" fmla="*/ 3 h 93"/>
                <a:gd name="T20" fmla="*/ 72 w 125"/>
                <a:gd name="T21" fmla="*/ 0 h 93"/>
                <a:gd name="T22" fmla="*/ 118 w 125"/>
                <a:gd name="T23" fmla="*/ 0 h 93"/>
                <a:gd name="T24" fmla="*/ 122 w 125"/>
                <a:gd name="T25" fmla="*/ 15 h 93"/>
                <a:gd name="T26" fmla="*/ 125 w 125"/>
                <a:gd name="T27" fmla="*/ 25 h 93"/>
                <a:gd name="T28" fmla="*/ 124 w 125"/>
                <a:gd name="T29" fmla="*/ 29 h 93"/>
                <a:gd name="T30" fmla="*/ 122 w 125"/>
                <a:gd name="T31" fmla="*/ 33 h 93"/>
                <a:gd name="T32" fmla="*/ 119 w 125"/>
                <a:gd name="T33" fmla="*/ 35 h 93"/>
                <a:gd name="T34" fmla="*/ 117 w 125"/>
                <a:gd name="T35" fmla="*/ 37 h 93"/>
                <a:gd name="T36" fmla="*/ 111 w 125"/>
                <a:gd name="T37" fmla="*/ 40 h 93"/>
                <a:gd name="T38" fmla="*/ 104 w 125"/>
                <a:gd name="T39" fmla="*/ 41 h 93"/>
                <a:gd name="T40" fmla="*/ 88 w 125"/>
                <a:gd name="T41" fmla="*/ 41 h 93"/>
                <a:gd name="T42" fmla="*/ 72 w 125"/>
                <a:gd name="T43" fmla="*/ 43 h 93"/>
                <a:gd name="T44" fmla="*/ 70 w 125"/>
                <a:gd name="T45" fmla="*/ 47 h 93"/>
                <a:gd name="T46" fmla="*/ 69 w 125"/>
                <a:gd name="T47" fmla="*/ 53 h 93"/>
                <a:gd name="T48" fmla="*/ 67 w 125"/>
                <a:gd name="T49" fmla="*/ 61 h 93"/>
                <a:gd name="T50" fmla="*/ 67 w 125"/>
                <a:gd name="T51" fmla="*/ 71 h 93"/>
                <a:gd name="T52" fmla="*/ 66 w 125"/>
                <a:gd name="T53" fmla="*/ 86 h 93"/>
                <a:gd name="T54" fmla="*/ 66 w 125"/>
                <a:gd name="T55" fmla="*/ 93 h 93"/>
                <a:gd name="T56" fmla="*/ 49 w 125"/>
                <a:gd name="T57" fmla="*/ 85 h 93"/>
                <a:gd name="T58" fmla="*/ 27 w 125"/>
                <a:gd name="T59" fmla="*/ 73 h 93"/>
                <a:gd name="T60" fmla="*/ 16 w 125"/>
                <a:gd name="T61" fmla="*/ 65 h 93"/>
                <a:gd name="T62" fmla="*/ 7 w 125"/>
                <a:gd name="T63" fmla="*/ 58 h 93"/>
                <a:gd name="T64" fmla="*/ 4 w 125"/>
                <a:gd name="T65" fmla="*/ 54 h 93"/>
                <a:gd name="T66" fmla="*/ 2 w 125"/>
                <a:gd name="T67" fmla="*/ 50 h 93"/>
                <a:gd name="T68" fmla="*/ 0 w 125"/>
                <a:gd name="T69" fmla="*/ 47 h 93"/>
                <a:gd name="T70" fmla="*/ 0 w 125"/>
                <a:gd name="T71" fmla="*/ 43 h 93"/>
                <a:gd name="T72" fmla="*/ 7 w 125"/>
                <a:gd name="T73" fmla="*/ 43 h 93"/>
                <a:gd name="T74" fmla="*/ 15 w 125"/>
                <a:gd name="T75" fmla="*/ 41 h 93"/>
                <a:gd name="T76" fmla="*/ 20 w 125"/>
                <a:gd name="T77" fmla="*/ 39 h 93"/>
                <a:gd name="T78" fmla="*/ 23 w 125"/>
                <a:gd name="T79" fmla="*/ 36 h 93"/>
                <a:gd name="T80" fmla="*/ 28 w 125"/>
                <a:gd name="T81" fmla="*/ 28 h 93"/>
                <a:gd name="T82" fmla="*/ 33 w 125"/>
                <a:gd name="T83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23" name="Freeform 484"/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7088188" y="2579688"/>
              <a:ext cx="60325" cy="84137"/>
            </a:xfrm>
            <a:custGeom>
              <a:avLst/>
              <a:gdLst>
                <a:gd name="T0" fmla="*/ 20 w 133"/>
                <a:gd name="T1" fmla="*/ 12 h 154"/>
                <a:gd name="T2" fmla="*/ 24 w 133"/>
                <a:gd name="T3" fmla="*/ 10 h 154"/>
                <a:gd name="T4" fmla="*/ 31 w 133"/>
                <a:gd name="T5" fmla="*/ 6 h 154"/>
                <a:gd name="T6" fmla="*/ 34 w 133"/>
                <a:gd name="T7" fmla="*/ 4 h 154"/>
                <a:gd name="T8" fmla="*/ 37 w 133"/>
                <a:gd name="T9" fmla="*/ 2 h 154"/>
                <a:gd name="T10" fmla="*/ 42 w 133"/>
                <a:gd name="T11" fmla="*/ 1 h 154"/>
                <a:gd name="T12" fmla="*/ 46 w 133"/>
                <a:gd name="T13" fmla="*/ 0 h 154"/>
                <a:gd name="T14" fmla="*/ 59 w 133"/>
                <a:gd name="T15" fmla="*/ 1 h 154"/>
                <a:gd name="T16" fmla="*/ 70 w 133"/>
                <a:gd name="T17" fmla="*/ 4 h 154"/>
                <a:gd name="T18" fmla="*/ 81 w 133"/>
                <a:gd name="T19" fmla="*/ 8 h 154"/>
                <a:gd name="T20" fmla="*/ 90 w 133"/>
                <a:gd name="T21" fmla="*/ 14 h 154"/>
                <a:gd name="T22" fmla="*/ 99 w 133"/>
                <a:gd name="T23" fmla="*/ 21 h 154"/>
                <a:gd name="T24" fmla="*/ 105 w 133"/>
                <a:gd name="T25" fmla="*/ 30 h 154"/>
                <a:gd name="T26" fmla="*/ 112 w 133"/>
                <a:gd name="T27" fmla="*/ 40 h 154"/>
                <a:gd name="T28" fmla="*/ 116 w 133"/>
                <a:gd name="T29" fmla="*/ 50 h 154"/>
                <a:gd name="T30" fmla="*/ 121 w 133"/>
                <a:gd name="T31" fmla="*/ 60 h 154"/>
                <a:gd name="T32" fmla="*/ 124 w 133"/>
                <a:gd name="T33" fmla="*/ 71 h 154"/>
                <a:gd name="T34" fmla="*/ 127 w 133"/>
                <a:gd name="T35" fmla="*/ 82 h 154"/>
                <a:gd name="T36" fmla="*/ 130 w 133"/>
                <a:gd name="T37" fmla="*/ 94 h 154"/>
                <a:gd name="T38" fmla="*/ 132 w 133"/>
                <a:gd name="T39" fmla="*/ 116 h 154"/>
                <a:gd name="T40" fmla="*/ 133 w 133"/>
                <a:gd name="T41" fmla="*/ 135 h 154"/>
                <a:gd name="T42" fmla="*/ 132 w 133"/>
                <a:gd name="T43" fmla="*/ 138 h 154"/>
                <a:gd name="T44" fmla="*/ 130 w 133"/>
                <a:gd name="T45" fmla="*/ 141 h 154"/>
                <a:gd name="T46" fmla="*/ 125 w 133"/>
                <a:gd name="T47" fmla="*/ 144 h 154"/>
                <a:gd name="T48" fmla="*/ 121 w 133"/>
                <a:gd name="T49" fmla="*/ 147 h 154"/>
                <a:gd name="T50" fmla="*/ 115 w 133"/>
                <a:gd name="T51" fmla="*/ 150 h 154"/>
                <a:gd name="T52" fmla="*/ 110 w 133"/>
                <a:gd name="T53" fmla="*/ 153 h 154"/>
                <a:gd name="T54" fmla="*/ 104 w 133"/>
                <a:gd name="T55" fmla="*/ 154 h 154"/>
                <a:gd name="T56" fmla="*/ 99 w 133"/>
                <a:gd name="T57" fmla="*/ 154 h 154"/>
                <a:gd name="T58" fmla="*/ 93 w 133"/>
                <a:gd name="T59" fmla="*/ 153 h 154"/>
                <a:gd name="T60" fmla="*/ 87 w 133"/>
                <a:gd name="T61" fmla="*/ 149 h 154"/>
                <a:gd name="T62" fmla="*/ 79 w 133"/>
                <a:gd name="T63" fmla="*/ 141 h 154"/>
                <a:gd name="T64" fmla="*/ 71 w 133"/>
                <a:gd name="T65" fmla="*/ 134 h 154"/>
                <a:gd name="T66" fmla="*/ 64 w 133"/>
                <a:gd name="T67" fmla="*/ 126 h 154"/>
                <a:gd name="T68" fmla="*/ 58 w 133"/>
                <a:gd name="T69" fmla="*/ 118 h 154"/>
                <a:gd name="T70" fmla="*/ 54 w 133"/>
                <a:gd name="T71" fmla="*/ 111 h 154"/>
                <a:gd name="T72" fmla="*/ 53 w 133"/>
                <a:gd name="T73" fmla="*/ 105 h 154"/>
                <a:gd name="T74" fmla="*/ 54 w 133"/>
                <a:gd name="T75" fmla="*/ 98 h 154"/>
                <a:gd name="T76" fmla="*/ 56 w 133"/>
                <a:gd name="T77" fmla="*/ 83 h 154"/>
                <a:gd name="T78" fmla="*/ 58 w 133"/>
                <a:gd name="T79" fmla="*/ 68 h 154"/>
                <a:gd name="T80" fmla="*/ 59 w 133"/>
                <a:gd name="T81" fmla="*/ 62 h 154"/>
                <a:gd name="T82" fmla="*/ 47 w 133"/>
                <a:gd name="T83" fmla="*/ 61 h 154"/>
                <a:gd name="T84" fmla="*/ 36 w 133"/>
                <a:gd name="T85" fmla="*/ 59 h 154"/>
                <a:gd name="T86" fmla="*/ 25 w 133"/>
                <a:gd name="T87" fmla="*/ 56 h 154"/>
                <a:gd name="T88" fmla="*/ 17 w 133"/>
                <a:gd name="T89" fmla="*/ 52 h 154"/>
                <a:gd name="T90" fmla="*/ 13 w 133"/>
                <a:gd name="T91" fmla="*/ 49 h 154"/>
                <a:gd name="T92" fmla="*/ 10 w 133"/>
                <a:gd name="T93" fmla="*/ 46 h 154"/>
                <a:gd name="T94" fmla="*/ 7 w 133"/>
                <a:gd name="T95" fmla="*/ 43 h 154"/>
                <a:gd name="T96" fmla="*/ 4 w 133"/>
                <a:gd name="T97" fmla="*/ 39 h 154"/>
                <a:gd name="T98" fmla="*/ 2 w 133"/>
                <a:gd name="T99" fmla="*/ 34 h 154"/>
                <a:gd name="T100" fmla="*/ 1 w 133"/>
                <a:gd name="T101" fmla="*/ 29 h 154"/>
                <a:gd name="T102" fmla="*/ 0 w 133"/>
                <a:gd name="T103" fmla="*/ 24 h 154"/>
                <a:gd name="T104" fmla="*/ 0 w 133"/>
                <a:gd name="T105" fmla="*/ 18 h 154"/>
                <a:gd name="T106" fmla="*/ 7 w 133"/>
                <a:gd name="T107" fmla="*/ 15 h 154"/>
                <a:gd name="T108" fmla="*/ 20 w 133"/>
                <a:gd name="T109" fmla="*/ 12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24" name="Freeform 485"/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7104063" y="2341563"/>
              <a:ext cx="209550" cy="244475"/>
            </a:xfrm>
            <a:custGeom>
              <a:avLst/>
              <a:gdLst>
                <a:gd name="T0" fmla="*/ 134 w 485"/>
                <a:gd name="T1" fmla="*/ 351 h 468"/>
                <a:gd name="T2" fmla="*/ 167 w 485"/>
                <a:gd name="T3" fmla="*/ 339 h 468"/>
                <a:gd name="T4" fmla="*/ 200 w 485"/>
                <a:gd name="T5" fmla="*/ 339 h 468"/>
                <a:gd name="T6" fmla="*/ 226 w 485"/>
                <a:gd name="T7" fmla="*/ 348 h 468"/>
                <a:gd name="T8" fmla="*/ 224 w 485"/>
                <a:gd name="T9" fmla="*/ 327 h 468"/>
                <a:gd name="T10" fmla="*/ 220 w 485"/>
                <a:gd name="T11" fmla="*/ 316 h 468"/>
                <a:gd name="T12" fmla="*/ 233 w 485"/>
                <a:gd name="T13" fmla="*/ 303 h 468"/>
                <a:gd name="T14" fmla="*/ 239 w 485"/>
                <a:gd name="T15" fmla="*/ 276 h 468"/>
                <a:gd name="T16" fmla="*/ 242 w 485"/>
                <a:gd name="T17" fmla="*/ 246 h 468"/>
                <a:gd name="T18" fmla="*/ 268 w 485"/>
                <a:gd name="T19" fmla="*/ 255 h 468"/>
                <a:gd name="T20" fmla="*/ 300 w 485"/>
                <a:gd name="T21" fmla="*/ 238 h 468"/>
                <a:gd name="T22" fmla="*/ 316 w 485"/>
                <a:gd name="T23" fmla="*/ 217 h 468"/>
                <a:gd name="T24" fmla="*/ 293 w 485"/>
                <a:gd name="T25" fmla="*/ 194 h 468"/>
                <a:gd name="T26" fmla="*/ 318 w 485"/>
                <a:gd name="T27" fmla="*/ 199 h 468"/>
                <a:gd name="T28" fmla="*/ 343 w 485"/>
                <a:gd name="T29" fmla="*/ 202 h 468"/>
                <a:gd name="T30" fmla="*/ 346 w 485"/>
                <a:gd name="T31" fmla="*/ 185 h 468"/>
                <a:gd name="T32" fmla="*/ 295 w 485"/>
                <a:gd name="T33" fmla="*/ 96 h 468"/>
                <a:gd name="T34" fmla="*/ 285 w 485"/>
                <a:gd name="T35" fmla="*/ 53 h 468"/>
                <a:gd name="T36" fmla="*/ 291 w 485"/>
                <a:gd name="T37" fmla="*/ 19 h 468"/>
                <a:gd name="T38" fmla="*/ 316 w 485"/>
                <a:gd name="T39" fmla="*/ 1 h 468"/>
                <a:gd name="T40" fmla="*/ 336 w 485"/>
                <a:gd name="T41" fmla="*/ 18 h 468"/>
                <a:gd name="T42" fmla="*/ 377 w 485"/>
                <a:gd name="T43" fmla="*/ 45 h 468"/>
                <a:gd name="T44" fmla="*/ 415 w 485"/>
                <a:gd name="T45" fmla="*/ 72 h 468"/>
                <a:gd name="T46" fmla="*/ 426 w 485"/>
                <a:gd name="T47" fmla="*/ 98 h 468"/>
                <a:gd name="T48" fmla="*/ 436 w 485"/>
                <a:gd name="T49" fmla="*/ 137 h 468"/>
                <a:gd name="T50" fmla="*/ 445 w 485"/>
                <a:gd name="T51" fmla="*/ 173 h 468"/>
                <a:gd name="T52" fmla="*/ 428 w 485"/>
                <a:gd name="T53" fmla="*/ 179 h 468"/>
                <a:gd name="T54" fmla="*/ 412 w 485"/>
                <a:gd name="T55" fmla="*/ 185 h 468"/>
                <a:gd name="T56" fmla="*/ 426 w 485"/>
                <a:gd name="T57" fmla="*/ 199 h 468"/>
                <a:gd name="T58" fmla="*/ 445 w 485"/>
                <a:gd name="T59" fmla="*/ 203 h 468"/>
                <a:gd name="T60" fmla="*/ 455 w 485"/>
                <a:gd name="T61" fmla="*/ 262 h 468"/>
                <a:gd name="T62" fmla="*/ 475 w 485"/>
                <a:gd name="T63" fmla="*/ 312 h 468"/>
                <a:gd name="T64" fmla="*/ 480 w 485"/>
                <a:gd name="T65" fmla="*/ 381 h 468"/>
                <a:gd name="T66" fmla="*/ 463 w 485"/>
                <a:gd name="T67" fmla="*/ 364 h 468"/>
                <a:gd name="T68" fmla="*/ 453 w 485"/>
                <a:gd name="T69" fmla="*/ 356 h 468"/>
                <a:gd name="T70" fmla="*/ 436 w 485"/>
                <a:gd name="T71" fmla="*/ 363 h 468"/>
                <a:gd name="T72" fmla="*/ 429 w 485"/>
                <a:gd name="T73" fmla="*/ 399 h 468"/>
                <a:gd name="T74" fmla="*/ 408 w 485"/>
                <a:gd name="T75" fmla="*/ 389 h 468"/>
                <a:gd name="T76" fmla="*/ 389 w 485"/>
                <a:gd name="T77" fmla="*/ 382 h 468"/>
                <a:gd name="T78" fmla="*/ 376 w 485"/>
                <a:gd name="T79" fmla="*/ 402 h 468"/>
                <a:gd name="T80" fmla="*/ 345 w 485"/>
                <a:gd name="T81" fmla="*/ 413 h 468"/>
                <a:gd name="T82" fmla="*/ 334 w 485"/>
                <a:gd name="T83" fmla="*/ 400 h 468"/>
                <a:gd name="T84" fmla="*/ 312 w 485"/>
                <a:gd name="T85" fmla="*/ 395 h 468"/>
                <a:gd name="T86" fmla="*/ 303 w 485"/>
                <a:gd name="T87" fmla="*/ 426 h 468"/>
                <a:gd name="T88" fmla="*/ 299 w 485"/>
                <a:gd name="T89" fmla="*/ 450 h 468"/>
                <a:gd name="T90" fmla="*/ 307 w 485"/>
                <a:gd name="T91" fmla="*/ 466 h 468"/>
                <a:gd name="T92" fmla="*/ 272 w 485"/>
                <a:gd name="T93" fmla="*/ 468 h 468"/>
                <a:gd name="T94" fmla="*/ 258 w 485"/>
                <a:gd name="T95" fmla="*/ 465 h 468"/>
                <a:gd name="T96" fmla="*/ 244 w 485"/>
                <a:gd name="T97" fmla="*/ 440 h 468"/>
                <a:gd name="T98" fmla="*/ 229 w 485"/>
                <a:gd name="T99" fmla="*/ 418 h 468"/>
                <a:gd name="T100" fmla="*/ 204 w 485"/>
                <a:gd name="T101" fmla="*/ 406 h 468"/>
                <a:gd name="T102" fmla="*/ 190 w 485"/>
                <a:gd name="T103" fmla="*/ 394 h 468"/>
                <a:gd name="T104" fmla="*/ 136 w 485"/>
                <a:gd name="T105" fmla="*/ 417 h 468"/>
                <a:gd name="T106" fmla="*/ 90 w 485"/>
                <a:gd name="T107" fmla="*/ 435 h 468"/>
                <a:gd name="T108" fmla="*/ 65 w 485"/>
                <a:gd name="T109" fmla="*/ 459 h 468"/>
                <a:gd name="T110" fmla="*/ 27 w 485"/>
                <a:gd name="T111" fmla="*/ 461 h 468"/>
                <a:gd name="T112" fmla="*/ 7 w 485"/>
                <a:gd name="T113" fmla="*/ 438 h 468"/>
                <a:gd name="T114" fmla="*/ 0 w 485"/>
                <a:gd name="T115" fmla="*/ 417 h 468"/>
                <a:gd name="T116" fmla="*/ 7 w 485"/>
                <a:gd name="T117" fmla="*/ 413 h 468"/>
                <a:gd name="T118" fmla="*/ 27 w 485"/>
                <a:gd name="T119" fmla="*/ 414 h 468"/>
                <a:gd name="T120" fmla="*/ 48 w 485"/>
                <a:gd name="T121" fmla="*/ 405 h 468"/>
                <a:gd name="T122" fmla="*/ 72 w 485"/>
                <a:gd name="T123" fmla="*/ 369 h 468"/>
                <a:gd name="T124" fmla="*/ 93 w 485"/>
                <a:gd name="T125" fmla="*/ 352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25" name="Freeform 486"/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4687888" y="1231900"/>
              <a:ext cx="107950" cy="60325"/>
            </a:xfrm>
            <a:custGeom>
              <a:avLst/>
              <a:gdLst>
                <a:gd name="T0" fmla="*/ 27 w 246"/>
                <a:gd name="T1" fmla="*/ 36 h 42"/>
                <a:gd name="T2" fmla="*/ 36 w 246"/>
                <a:gd name="T3" fmla="*/ 36 h 42"/>
                <a:gd name="T4" fmla="*/ 45 w 246"/>
                <a:gd name="T5" fmla="*/ 35 h 42"/>
                <a:gd name="T6" fmla="*/ 53 w 246"/>
                <a:gd name="T7" fmla="*/ 33 h 42"/>
                <a:gd name="T8" fmla="*/ 59 w 246"/>
                <a:gd name="T9" fmla="*/ 31 h 42"/>
                <a:gd name="T10" fmla="*/ 66 w 246"/>
                <a:gd name="T11" fmla="*/ 30 h 42"/>
                <a:gd name="T12" fmla="*/ 72 w 246"/>
                <a:gd name="T13" fmla="*/ 29 h 42"/>
                <a:gd name="T14" fmla="*/ 80 w 246"/>
                <a:gd name="T15" fmla="*/ 29 h 42"/>
                <a:gd name="T16" fmla="*/ 87 w 246"/>
                <a:gd name="T17" fmla="*/ 30 h 42"/>
                <a:gd name="T18" fmla="*/ 87 w 246"/>
                <a:gd name="T19" fmla="*/ 42 h 42"/>
                <a:gd name="T20" fmla="*/ 154 w 246"/>
                <a:gd name="T21" fmla="*/ 42 h 42"/>
                <a:gd name="T22" fmla="*/ 154 w 246"/>
                <a:gd name="T23" fmla="*/ 39 h 42"/>
                <a:gd name="T24" fmla="*/ 156 w 246"/>
                <a:gd name="T25" fmla="*/ 36 h 42"/>
                <a:gd name="T26" fmla="*/ 159 w 246"/>
                <a:gd name="T27" fmla="*/ 33 h 42"/>
                <a:gd name="T28" fmla="*/ 163 w 246"/>
                <a:gd name="T29" fmla="*/ 31 h 42"/>
                <a:gd name="T30" fmla="*/ 175 w 246"/>
                <a:gd name="T31" fmla="*/ 26 h 42"/>
                <a:gd name="T32" fmla="*/ 190 w 246"/>
                <a:gd name="T33" fmla="*/ 23 h 42"/>
                <a:gd name="T34" fmla="*/ 221 w 246"/>
                <a:gd name="T35" fmla="*/ 17 h 42"/>
                <a:gd name="T36" fmla="*/ 246 w 246"/>
                <a:gd name="T37" fmla="*/ 12 h 42"/>
                <a:gd name="T38" fmla="*/ 212 w 246"/>
                <a:gd name="T39" fmla="*/ 13 h 42"/>
                <a:gd name="T40" fmla="*/ 186 w 246"/>
                <a:gd name="T41" fmla="*/ 14 h 42"/>
                <a:gd name="T42" fmla="*/ 178 w 246"/>
                <a:gd name="T43" fmla="*/ 15 h 42"/>
                <a:gd name="T44" fmla="*/ 171 w 246"/>
                <a:gd name="T45" fmla="*/ 15 h 42"/>
                <a:gd name="T46" fmla="*/ 168 w 246"/>
                <a:gd name="T47" fmla="*/ 14 h 42"/>
                <a:gd name="T48" fmla="*/ 167 w 246"/>
                <a:gd name="T49" fmla="*/ 12 h 42"/>
                <a:gd name="T50" fmla="*/ 159 w 246"/>
                <a:gd name="T51" fmla="*/ 16 h 42"/>
                <a:gd name="T52" fmla="*/ 152 w 246"/>
                <a:gd name="T53" fmla="*/ 17 h 42"/>
                <a:gd name="T54" fmla="*/ 147 w 246"/>
                <a:gd name="T55" fmla="*/ 17 h 42"/>
                <a:gd name="T56" fmla="*/ 141 w 246"/>
                <a:gd name="T57" fmla="*/ 15 h 42"/>
                <a:gd name="T58" fmla="*/ 137 w 246"/>
                <a:gd name="T59" fmla="*/ 12 h 42"/>
                <a:gd name="T60" fmla="*/ 133 w 246"/>
                <a:gd name="T61" fmla="*/ 9 h 42"/>
                <a:gd name="T62" fmla="*/ 129 w 246"/>
                <a:gd name="T63" fmla="*/ 5 h 42"/>
                <a:gd name="T64" fmla="*/ 126 w 246"/>
                <a:gd name="T65" fmla="*/ 0 h 42"/>
                <a:gd name="T66" fmla="*/ 121 w 246"/>
                <a:gd name="T67" fmla="*/ 2 h 42"/>
                <a:gd name="T68" fmla="*/ 113 w 246"/>
                <a:gd name="T69" fmla="*/ 4 h 42"/>
                <a:gd name="T70" fmla="*/ 103 w 246"/>
                <a:gd name="T71" fmla="*/ 5 h 42"/>
                <a:gd name="T72" fmla="*/ 93 w 246"/>
                <a:gd name="T73" fmla="*/ 5 h 42"/>
                <a:gd name="T74" fmla="*/ 74 w 246"/>
                <a:gd name="T75" fmla="*/ 6 h 42"/>
                <a:gd name="T76" fmla="*/ 60 w 246"/>
                <a:gd name="T77" fmla="*/ 6 h 42"/>
                <a:gd name="T78" fmla="*/ 58 w 246"/>
                <a:gd name="T79" fmla="*/ 9 h 42"/>
                <a:gd name="T80" fmla="*/ 56 w 246"/>
                <a:gd name="T81" fmla="*/ 12 h 42"/>
                <a:gd name="T82" fmla="*/ 54 w 246"/>
                <a:gd name="T83" fmla="*/ 15 h 42"/>
                <a:gd name="T84" fmla="*/ 50 w 246"/>
                <a:gd name="T85" fmla="*/ 17 h 42"/>
                <a:gd name="T86" fmla="*/ 42 w 246"/>
                <a:gd name="T87" fmla="*/ 20 h 42"/>
                <a:gd name="T88" fmla="*/ 33 w 246"/>
                <a:gd name="T89" fmla="*/ 22 h 42"/>
                <a:gd name="T90" fmla="*/ 14 w 246"/>
                <a:gd name="T91" fmla="*/ 24 h 42"/>
                <a:gd name="T92" fmla="*/ 0 w 246"/>
                <a:gd name="T93" fmla="*/ 24 h 42"/>
                <a:gd name="T94" fmla="*/ 1 w 246"/>
                <a:gd name="T95" fmla="*/ 27 h 42"/>
                <a:gd name="T96" fmla="*/ 3 w 246"/>
                <a:gd name="T97" fmla="*/ 29 h 42"/>
                <a:gd name="T98" fmla="*/ 5 w 246"/>
                <a:gd name="T99" fmla="*/ 31 h 42"/>
                <a:gd name="T100" fmla="*/ 9 w 246"/>
                <a:gd name="T101" fmla="*/ 33 h 42"/>
                <a:gd name="T102" fmla="*/ 17 w 246"/>
                <a:gd name="T103" fmla="*/ 35 h 42"/>
                <a:gd name="T104" fmla="*/ 27 w 246"/>
                <a:gd name="T105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26" name="Freeform 487"/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4830763" y="1214438"/>
              <a:ext cx="63500" cy="57150"/>
            </a:xfrm>
            <a:custGeom>
              <a:avLst/>
              <a:gdLst>
                <a:gd name="T0" fmla="*/ 103 w 149"/>
                <a:gd name="T1" fmla="*/ 0 h 61"/>
                <a:gd name="T2" fmla="*/ 118 w 149"/>
                <a:gd name="T3" fmla="*/ 1 h 61"/>
                <a:gd name="T4" fmla="*/ 134 w 149"/>
                <a:gd name="T5" fmla="*/ 3 h 61"/>
                <a:gd name="T6" fmla="*/ 145 w 149"/>
                <a:gd name="T7" fmla="*/ 5 h 61"/>
                <a:gd name="T8" fmla="*/ 149 w 149"/>
                <a:gd name="T9" fmla="*/ 6 h 61"/>
                <a:gd name="T10" fmla="*/ 149 w 149"/>
                <a:gd name="T11" fmla="*/ 8 h 61"/>
                <a:gd name="T12" fmla="*/ 147 w 149"/>
                <a:gd name="T13" fmla="*/ 10 h 61"/>
                <a:gd name="T14" fmla="*/ 145 w 149"/>
                <a:gd name="T15" fmla="*/ 12 h 61"/>
                <a:gd name="T16" fmla="*/ 141 w 149"/>
                <a:gd name="T17" fmla="*/ 13 h 61"/>
                <a:gd name="T18" fmla="*/ 137 w 149"/>
                <a:gd name="T19" fmla="*/ 14 h 61"/>
                <a:gd name="T20" fmla="*/ 132 w 149"/>
                <a:gd name="T21" fmla="*/ 14 h 61"/>
                <a:gd name="T22" fmla="*/ 127 w 149"/>
                <a:gd name="T23" fmla="*/ 14 h 61"/>
                <a:gd name="T24" fmla="*/ 123 w 149"/>
                <a:gd name="T25" fmla="*/ 12 h 61"/>
                <a:gd name="T26" fmla="*/ 123 w 149"/>
                <a:gd name="T27" fmla="*/ 23 h 61"/>
                <a:gd name="T28" fmla="*/ 123 w 149"/>
                <a:gd name="T29" fmla="*/ 33 h 61"/>
                <a:gd name="T30" fmla="*/ 123 w 149"/>
                <a:gd name="T31" fmla="*/ 41 h 61"/>
                <a:gd name="T32" fmla="*/ 123 w 149"/>
                <a:gd name="T33" fmla="*/ 49 h 61"/>
                <a:gd name="T34" fmla="*/ 116 w 149"/>
                <a:gd name="T35" fmla="*/ 50 h 61"/>
                <a:gd name="T36" fmla="*/ 109 w 149"/>
                <a:gd name="T37" fmla="*/ 51 h 61"/>
                <a:gd name="T38" fmla="*/ 104 w 149"/>
                <a:gd name="T39" fmla="*/ 53 h 61"/>
                <a:gd name="T40" fmla="*/ 100 w 149"/>
                <a:gd name="T41" fmla="*/ 55 h 61"/>
                <a:gd name="T42" fmla="*/ 94 w 149"/>
                <a:gd name="T43" fmla="*/ 57 h 61"/>
                <a:gd name="T44" fmla="*/ 89 w 149"/>
                <a:gd name="T45" fmla="*/ 59 h 61"/>
                <a:gd name="T46" fmla="*/ 83 w 149"/>
                <a:gd name="T47" fmla="*/ 61 h 61"/>
                <a:gd name="T48" fmla="*/ 76 w 149"/>
                <a:gd name="T49" fmla="*/ 61 h 61"/>
                <a:gd name="T50" fmla="*/ 67 w 149"/>
                <a:gd name="T51" fmla="*/ 60 h 61"/>
                <a:gd name="T52" fmla="*/ 53 w 149"/>
                <a:gd name="T53" fmla="*/ 57 h 61"/>
                <a:gd name="T54" fmla="*/ 39 w 149"/>
                <a:gd name="T55" fmla="*/ 54 h 61"/>
                <a:gd name="T56" fmla="*/ 25 w 149"/>
                <a:gd name="T57" fmla="*/ 49 h 61"/>
                <a:gd name="T58" fmla="*/ 12 w 149"/>
                <a:gd name="T59" fmla="*/ 45 h 61"/>
                <a:gd name="T60" fmla="*/ 3 w 149"/>
                <a:gd name="T61" fmla="*/ 41 h 61"/>
                <a:gd name="T62" fmla="*/ 1 w 149"/>
                <a:gd name="T63" fmla="*/ 39 h 61"/>
                <a:gd name="T64" fmla="*/ 0 w 149"/>
                <a:gd name="T65" fmla="*/ 38 h 61"/>
                <a:gd name="T66" fmla="*/ 0 w 149"/>
                <a:gd name="T67" fmla="*/ 37 h 61"/>
                <a:gd name="T68" fmla="*/ 3 w 149"/>
                <a:gd name="T69" fmla="*/ 37 h 61"/>
                <a:gd name="T70" fmla="*/ 19 w 149"/>
                <a:gd name="T71" fmla="*/ 36 h 61"/>
                <a:gd name="T72" fmla="*/ 35 w 149"/>
                <a:gd name="T73" fmla="*/ 35 h 61"/>
                <a:gd name="T74" fmla="*/ 48 w 149"/>
                <a:gd name="T75" fmla="*/ 32 h 61"/>
                <a:gd name="T76" fmla="*/ 60 w 149"/>
                <a:gd name="T77" fmla="*/ 27 h 61"/>
                <a:gd name="T78" fmla="*/ 72 w 149"/>
                <a:gd name="T79" fmla="*/ 22 h 61"/>
                <a:gd name="T80" fmla="*/ 82 w 149"/>
                <a:gd name="T81" fmla="*/ 16 h 61"/>
                <a:gd name="T82" fmla="*/ 93 w 149"/>
                <a:gd name="T83" fmla="*/ 8 h 61"/>
                <a:gd name="T84" fmla="*/ 103 w 149"/>
                <a:gd name="T8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27" name="Freeform 488"/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4867275" y="1222375"/>
              <a:ext cx="130175" cy="57150"/>
            </a:xfrm>
            <a:custGeom>
              <a:avLst/>
              <a:gdLst>
                <a:gd name="T0" fmla="*/ 133 w 299"/>
                <a:gd name="T1" fmla="*/ 72 h 74"/>
                <a:gd name="T2" fmla="*/ 154 w 299"/>
                <a:gd name="T3" fmla="*/ 65 h 74"/>
                <a:gd name="T4" fmla="*/ 178 w 299"/>
                <a:gd name="T5" fmla="*/ 54 h 74"/>
                <a:gd name="T6" fmla="*/ 199 w 299"/>
                <a:gd name="T7" fmla="*/ 42 h 74"/>
                <a:gd name="T8" fmla="*/ 207 w 299"/>
                <a:gd name="T9" fmla="*/ 40 h 74"/>
                <a:gd name="T10" fmla="*/ 211 w 299"/>
                <a:gd name="T11" fmla="*/ 46 h 74"/>
                <a:gd name="T12" fmla="*/ 220 w 299"/>
                <a:gd name="T13" fmla="*/ 51 h 74"/>
                <a:gd name="T14" fmla="*/ 243 w 299"/>
                <a:gd name="T15" fmla="*/ 55 h 74"/>
                <a:gd name="T16" fmla="*/ 269 w 299"/>
                <a:gd name="T17" fmla="*/ 55 h 74"/>
                <a:gd name="T18" fmla="*/ 286 w 299"/>
                <a:gd name="T19" fmla="*/ 55 h 74"/>
                <a:gd name="T20" fmla="*/ 293 w 299"/>
                <a:gd name="T21" fmla="*/ 46 h 74"/>
                <a:gd name="T22" fmla="*/ 298 w 299"/>
                <a:gd name="T23" fmla="*/ 31 h 74"/>
                <a:gd name="T24" fmla="*/ 279 w 299"/>
                <a:gd name="T25" fmla="*/ 25 h 74"/>
                <a:gd name="T26" fmla="*/ 244 w 299"/>
                <a:gd name="T27" fmla="*/ 25 h 74"/>
                <a:gd name="T28" fmla="*/ 225 w 299"/>
                <a:gd name="T29" fmla="*/ 25 h 74"/>
                <a:gd name="T30" fmla="*/ 214 w 299"/>
                <a:gd name="T31" fmla="*/ 27 h 74"/>
                <a:gd name="T32" fmla="*/ 204 w 299"/>
                <a:gd name="T33" fmla="*/ 33 h 74"/>
                <a:gd name="T34" fmla="*/ 172 w 299"/>
                <a:gd name="T35" fmla="*/ 37 h 74"/>
                <a:gd name="T36" fmla="*/ 176 w 299"/>
                <a:gd name="T37" fmla="*/ 28 h 74"/>
                <a:gd name="T38" fmla="*/ 180 w 299"/>
                <a:gd name="T39" fmla="*/ 21 h 74"/>
                <a:gd name="T40" fmla="*/ 194 w 299"/>
                <a:gd name="T41" fmla="*/ 13 h 74"/>
                <a:gd name="T42" fmla="*/ 210 w 299"/>
                <a:gd name="T43" fmla="*/ 9 h 74"/>
                <a:gd name="T44" fmla="*/ 225 w 299"/>
                <a:gd name="T45" fmla="*/ 0 h 74"/>
                <a:gd name="T46" fmla="*/ 185 w 299"/>
                <a:gd name="T47" fmla="*/ 3 h 74"/>
                <a:gd name="T48" fmla="*/ 157 w 299"/>
                <a:gd name="T49" fmla="*/ 11 h 74"/>
                <a:gd name="T50" fmla="*/ 134 w 299"/>
                <a:gd name="T51" fmla="*/ 25 h 74"/>
                <a:gd name="T52" fmla="*/ 114 w 299"/>
                <a:gd name="T53" fmla="*/ 40 h 74"/>
                <a:gd name="T54" fmla="*/ 100 w 299"/>
                <a:gd name="T55" fmla="*/ 53 h 74"/>
                <a:gd name="T56" fmla="*/ 87 w 299"/>
                <a:gd name="T57" fmla="*/ 59 h 74"/>
                <a:gd name="T58" fmla="*/ 64 w 299"/>
                <a:gd name="T59" fmla="*/ 63 h 74"/>
                <a:gd name="T60" fmla="*/ 32 w 299"/>
                <a:gd name="T61" fmla="*/ 64 h 74"/>
                <a:gd name="T62" fmla="*/ 12 w 299"/>
                <a:gd name="T63" fmla="*/ 67 h 74"/>
                <a:gd name="T64" fmla="*/ 2 w 299"/>
                <a:gd name="T65" fmla="*/ 70 h 74"/>
                <a:gd name="T66" fmla="*/ 39 w 299"/>
                <a:gd name="T67" fmla="*/ 74 h 74"/>
                <a:gd name="T68" fmla="*/ 102 w 299"/>
                <a:gd name="T6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28" name="Freeform 489"/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5400675" y="1408113"/>
              <a:ext cx="41275" cy="57150"/>
            </a:xfrm>
            <a:custGeom>
              <a:avLst/>
              <a:gdLst>
                <a:gd name="T0" fmla="*/ 93 w 100"/>
                <a:gd name="T1" fmla="*/ 0 h 42"/>
                <a:gd name="T2" fmla="*/ 97 w 100"/>
                <a:gd name="T3" fmla="*/ 7 h 42"/>
                <a:gd name="T4" fmla="*/ 100 w 100"/>
                <a:gd name="T5" fmla="*/ 18 h 42"/>
                <a:gd name="T6" fmla="*/ 92 w 100"/>
                <a:gd name="T7" fmla="*/ 24 h 42"/>
                <a:gd name="T8" fmla="*/ 86 w 100"/>
                <a:gd name="T9" fmla="*/ 29 h 42"/>
                <a:gd name="T10" fmla="*/ 79 w 100"/>
                <a:gd name="T11" fmla="*/ 34 h 42"/>
                <a:gd name="T12" fmla="*/ 72 w 100"/>
                <a:gd name="T13" fmla="*/ 37 h 42"/>
                <a:gd name="T14" fmla="*/ 65 w 100"/>
                <a:gd name="T15" fmla="*/ 39 h 42"/>
                <a:gd name="T16" fmla="*/ 57 w 100"/>
                <a:gd name="T17" fmla="*/ 41 h 42"/>
                <a:gd name="T18" fmla="*/ 49 w 100"/>
                <a:gd name="T19" fmla="*/ 42 h 42"/>
                <a:gd name="T20" fmla="*/ 40 w 100"/>
                <a:gd name="T21" fmla="*/ 42 h 42"/>
                <a:gd name="T22" fmla="*/ 27 w 100"/>
                <a:gd name="T23" fmla="*/ 41 h 42"/>
                <a:gd name="T24" fmla="*/ 12 w 100"/>
                <a:gd name="T25" fmla="*/ 39 h 42"/>
                <a:gd name="T26" fmla="*/ 1 w 100"/>
                <a:gd name="T27" fmla="*/ 37 h 42"/>
                <a:gd name="T28" fmla="*/ 0 w 100"/>
                <a:gd name="T29" fmla="*/ 36 h 42"/>
                <a:gd name="T30" fmla="*/ 6 w 100"/>
                <a:gd name="T31" fmla="*/ 36 h 42"/>
                <a:gd name="T32" fmla="*/ 12 w 100"/>
                <a:gd name="T33" fmla="*/ 35 h 42"/>
                <a:gd name="T34" fmla="*/ 18 w 100"/>
                <a:gd name="T35" fmla="*/ 33 h 42"/>
                <a:gd name="T36" fmla="*/ 23 w 100"/>
                <a:gd name="T37" fmla="*/ 30 h 42"/>
                <a:gd name="T38" fmla="*/ 33 w 100"/>
                <a:gd name="T39" fmla="*/ 25 h 42"/>
                <a:gd name="T40" fmla="*/ 44 w 100"/>
                <a:gd name="T41" fmla="*/ 18 h 42"/>
                <a:gd name="T42" fmla="*/ 55 w 100"/>
                <a:gd name="T43" fmla="*/ 11 h 42"/>
                <a:gd name="T44" fmla="*/ 66 w 100"/>
                <a:gd name="T45" fmla="*/ 5 h 42"/>
                <a:gd name="T46" fmla="*/ 72 w 100"/>
                <a:gd name="T47" fmla="*/ 3 h 42"/>
                <a:gd name="T48" fmla="*/ 79 w 100"/>
                <a:gd name="T49" fmla="*/ 1 h 42"/>
                <a:gd name="T50" fmla="*/ 86 w 100"/>
                <a:gd name="T51" fmla="*/ 0 h 42"/>
                <a:gd name="T52" fmla="*/ 93 w 100"/>
                <a:gd name="T5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29" name="Freeform 490"/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5310188" y="1266825"/>
              <a:ext cx="15875" cy="58738"/>
            </a:xfrm>
            <a:custGeom>
              <a:avLst/>
              <a:gdLst>
                <a:gd name="T0" fmla="*/ 40 w 40"/>
                <a:gd name="T1" fmla="*/ 5 h 5"/>
                <a:gd name="T2" fmla="*/ 0 w 40"/>
                <a:gd name="T3" fmla="*/ 5 h 5"/>
                <a:gd name="T4" fmla="*/ 5 w 40"/>
                <a:gd name="T5" fmla="*/ 3 h 5"/>
                <a:gd name="T6" fmla="*/ 9 w 40"/>
                <a:gd name="T7" fmla="*/ 1 h 5"/>
                <a:gd name="T8" fmla="*/ 15 w 40"/>
                <a:gd name="T9" fmla="*/ 0 h 5"/>
                <a:gd name="T10" fmla="*/ 20 w 40"/>
                <a:gd name="T11" fmla="*/ 0 h 5"/>
                <a:gd name="T12" fmla="*/ 25 w 40"/>
                <a:gd name="T13" fmla="*/ 0 h 5"/>
                <a:gd name="T14" fmla="*/ 30 w 40"/>
                <a:gd name="T15" fmla="*/ 1 h 5"/>
                <a:gd name="T16" fmla="*/ 35 w 40"/>
                <a:gd name="T17" fmla="*/ 3 h 5"/>
                <a:gd name="T18" fmla="*/ 40 w 40"/>
                <a:gd name="T1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30" name="Freeform 491"/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5332413" y="1225550"/>
              <a:ext cx="14287" cy="60325"/>
            </a:xfrm>
            <a:custGeom>
              <a:avLst/>
              <a:gdLst>
                <a:gd name="T0" fmla="*/ 0 w 33"/>
                <a:gd name="T1" fmla="*/ 19 h 31"/>
                <a:gd name="T2" fmla="*/ 20 w 33"/>
                <a:gd name="T3" fmla="*/ 0 h 31"/>
                <a:gd name="T4" fmla="*/ 20 w 33"/>
                <a:gd name="T5" fmla="*/ 4 h 31"/>
                <a:gd name="T6" fmla="*/ 22 w 33"/>
                <a:gd name="T7" fmla="*/ 10 h 31"/>
                <a:gd name="T8" fmla="*/ 25 w 33"/>
                <a:gd name="T9" fmla="*/ 14 h 31"/>
                <a:gd name="T10" fmla="*/ 27 w 33"/>
                <a:gd name="T11" fmla="*/ 18 h 31"/>
                <a:gd name="T12" fmla="*/ 31 w 33"/>
                <a:gd name="T13" fmla="*/ 26 h 31"/>
                <a:gd name="T14" fmla="*/ 33 w 33"/>
                <a:gd name="T15" fmla="*/ 31 h 31"/>
                <a:gd name="T16" fmla="*/ 0 w 33"/>
                <a:gd name="T17" fmla="*/ 31 h 31"/>
                <a:gd name="T18" fmla="*/ 0 w 33"/>
                <a:gd name="T19" fmla="*/ 25 h 31"/>
                <a:gd name="T20" fmla="*/ 0 w 33"/>
                <a:gd name="T2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31" name="Freeform 492"/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5476875" y="1341438"/>
              <a:ext cx="17463" cy="57150"/>
            </a:xfrm>
            <a:custGeom>
              <a:avLst/>
              <a:gdLst>
                <a:gd name="T0" fmla="*/ 41 w 41"/>
                <a:gd name="T1" fmla="*/ 0 h 43"/>
                <a:gd name="T2" fmla="*/ 41 w 41"/>
                <a:gd name="T3" fmla="*/ 43 h 43"/>
                <a:gd name="T4" fmla="*/ 31 w 41"/>
                <a:gd name="T5" fmla="*/ 42 h 43"/>
                <a:gd name="T6" fmla="*/ 24 w 41"/>
                <a:gd name="T7" fmla="*/ 40 h 43"/>
                <a:gd name="T8" fmla="*/ 18 w 41"/>
                <a:gd name="T9" fmla="*/ 37 h 43"/>
                <a:gd name="T10" fmla="*/ 13 w 41"/>
                <a:gd name="T11" fmla="*/ 33 h 43"/>
                <a:gd name="T12" fmla="*/ 5 w 41"/>
                <a:gd name="T13" fmla="*/ 25 h 43"/>
                <a:gd name="T14" fmla="*/ 0 w 41"/>
                <a:gd name="T15" fmla="*/ 19 h 43"/>
                <a:gd name="T16" fmla="*/ 12 w 41"/>
                <a:gd name="T17" fmla="*/ 13 h 43"/>
                <a:gd name="T18" fmla="*/ 25 w 41"/>
                <a:gd name="T19" fmla="*/ 7 h 43"/>
                <a:gd name="T20" fmla="*/ 36 w 41"/>
                <a:gd name="T21" fmla="*/ 2 h 43"/>
                <a:gd name="T22" fmla="*/ 41 w 41"/>
                <a:gd name="T2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32" name="Freeform 493"/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5530850" y="1225550"/>
              <a:ext cx="93663" cy="60325"/>
            </a:xfrm>
            <a:custGeom>
              <a:avLst/>
              <a:gdLst>
                <a:gd name="T0" fmla="*/ 61 w 213"/>
                <a:gd name="T1" fmla="*/ 0 h 62"/>
                <a:gd name="T2" fmla="*/ 83 w 213"/>
                <a:gd name="T3" fmla="*/ 0 h 62"/>
                <a:gd name="T4" fmla="*/ 105 w 213"/>
                <a:gd name="T5" fmla="*/ 1 h 62"/>
                <a:gd name="T6" fmla="*/ 127 w 213"/>
                <a:gd name="T7" fmla="*/ 3 h 62"/>
                <a:gd name="T8" fmla="*/ 146 w 213"/>
                <a:gd name="T9" fmla="*/ 7 h 62"/>
                <a:gd name="T10" fmla="*/ 166 w 213"/>
                <a:gd name="T11" fmla="*/ 11 h 62"/>
                <a:gd name="T12" fmla="*/ 184 w 213"/>
                <a:gd name="T13" fmla="*/ 16 h 62"/>
                <a:gd name="T14" fmla="*/ 191 w 213"/>
                <a:gd name="T15" fmla="*/ 19 h 62"/>
                <a:gd name="T16" fmla="*/ 199 w 213"/>
                <a:gd name="T17" fmla="*/ 23 h 62"/>
                <a:gd name="T18" fmla="*/ 207 w 213"/>
                <a:gd name="T19" fmla="*/ 27 h 62"/>
                <a:gd name="T20" fmla="*/ 213 w 213"/>
                <a:gd name="T21" fmla="*/ 31 h 62"/>
                <a:gd name="T22" fmla="*/ 211 w 213"/>
                <a:gd name="T23" fmla="*/ 35 h 62"/>
                <a:gd name="T24" fmla="*/ 207 w 213"/>
                <a:gd name="T25" fmla="*/ 38 h 62"/>
                <a:gd name="T26" fmla="*/ 201 w 213"/>
                <a:gd name="T27" fmla="*/ 41 h 62"/>
                <a:gd name="T28" fmla="*/ 195 w 213"/>
                <a:gd name="T29" fmla="*/ 44 h 62"/>
                <a:gd name="T30" fmla="*/ 177 w 213"/>
                <a:gd name="T31" fmla="*/ 49 h 62"/>
                <a:gd name="T32" fmla="*/ 156 w 213"/>
                <a:gd name="T33" fmla="*/ 53 h 62"/>
                <a:gd name="T34" fmla="*/ 135 w 213"/>
                <a:gd name="T35" fmla="*/ 57 h 62"/>
                <a:gd name="T36" fmla="*/ 114 w 213"/>
                <a:gd name="T37" fmla="*/ 59 h 62"/>
                <a:gd name="T38" fmla="*/ 95 w 213"/>
                <a:gd name="T39" fmla="*/ 62 h 62"/>
                <a:gd name="T40" fmla="*/ 80 w 213"/>
                <a:gd name="T41" fmla="*/ 62 h 62"/>
                <a:gd name="T42" fmla="*/ 62 w 213"/>
                <a:gd name="T43" fmla="*/ 62 h 62"/>
                <a:gd name="T44" fmla="*/ 43 w 213"/>
                <a:gd name="T45" fmla="*/ 59 h 62"/>
                <a:gd name="T46" fmla="*/ 33 w 213"/>
                <a:gd name="T47" fmla="*/ 59 h 62"/>
                <a:gd name="T48" fmla="*/ 23 w 213"/>
                <a:gd name="T49" fmla="*/ 59 h 62"/>
                <a:gd name="T50" fmla="*/ 12 w 213"/>
                <a:gd name="T51" fmla="*/ 60 h 62"/>
                <a:gd name="T52" fmla="*/ 0 w 213"/>
                <a:gd name="T53" fmla="*/ 62 h 62"/>
                <a:gd name="T54" fmla="*/ 6 w 213"/>
                <a:gd name="T55" fmla="*/ 50 h 62"/>
                <a:gd name="T56" fmla="*/ 11 w 213"/>
                <a:gd name="T57" fmla="*/ 39 h 62"/>
                <a:gd name="T58" fmla="*/ 17 w 213"/>
                <a:gd name="T59" fmla="*/ 29 h 62"/>
                <a:gd name="T60" fmla="*/ 23 w 213"/>
                <a:gd name="T61" fmla="*/ 20 h 62"/>
                <a:gd name="T62" fmla="*/ 27 w 213"/>
                <a:gd name="T63" fmla="*/ 16 h 62"/>
                <a:gd name="T64" fmla="*/ 30 w 213"/>
                <a:gd name="T65" fmla="*/ 12 h 62"/>
                <a:gd name="T66" fmla="*/ 34 w 213"/>
                <a:gd name="T67" fmla="*/ 9 h 62"/>
                <a:gd name="T68" fmla="*/ 39 w 213"/>
                <a:gd name="T69" fmla="*/ 6 h 62"/>
                <a:gd name="T70" fmla="*/ 43 w 213"/>
                <a:gd name="T71" fmla="*/ 3 h 62"/>
                <a:gd name="T72" fmla="*/ 49 w 213"/>
                <a:gd name="T73" fmla="*/ 1 h 62"/>
                <a:gd name="T74" fmla="*/ 54 w 213"/>
                <a:gd name="T75" fmla="*/ 0 h 62"/>
                <a:gd name="T76" fmla="*/ 61 w 213"/>
                <a:gd name="T7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33" name="Freeform 494"/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5591175" y="1250950"/>
              <a:ext cx="103188" cy="60325"/>
            </a:xfrm>
            <a:custGeom>
              <a:avLst/>
              <a:gdLst>
                <a:gd name="T0" fmla="*/ 41 w 239"/>
                <a:gd name="T1" fmla="*/ 0 h 56"/>
                <a:gd name="T2" fmla="*/ 30 w 239"/>
                <a:gd name="T3" fmla="*/ 3 h 56"/>
                <a:gd name="T4" fmla="*/ 23 w 239"/>
                <a:gd name="T5" fmla="*/ 5 h 56"/>
                <a:gd name="T6" fmla="*/ 19 w 239"/>
                <a:gd name="T7" fmla="*/ 7 h 56"/>
                <a:gd name="T8" fmla="*/ 15 w 239"/>
                <a:gd name="T9" fmla="*/ 9 h 56"/>
                <a:gd name="T10" fmla="*/ 13 w 239"/>
                <a:gd name="T11" fmla="*/ 13 h 56"/>
                <a:gd name="T12" fmla="*/ 10 w 239"/>
                <a:gd name="T13" fmla="*/ 15 h 56"/>
                <a:gd name="T14" fmla="*/ 7 w 239"/>
                <a:gd name="T15" fmla="*/ 17 h 56"/>
                <a:gd name="T16" fmla="*/ 0 w 239"/>
                <a:gd name="T17" fmla="*/ 19 h 56"/>
                <a:gd name="T18" fmla="*/ 2 w 239"/>
                <a:gd name="T19" fmla="*/ 24 h 56"/>
                <a:gd name="T20" fmla="*/ 5 w 239"/>
                <a:gd name="T21" fmla="*/ 27 h 56"/>
                <a:gd name="T22" fmla="*/ 7 w 239"/>
                <a:gd name="T23" fmla="*/ 30 h 56"/>
                <a:gd name="T24" fmla="*/ 10 w 239"/>
                <a:gd name="T25" fmla="*/ 33 h 56"/>
                <a:gd name="T26" fmla="*/ 17 w 239"/>
                <a:gd name="T27" fmla="*/ 36 h 56"/>
                <a:gd name="T28" fmla="*/ 24 w 239"/>
                <a:gd name="T29" fmla="*/ 38 h 56"/>
                <a:gd name="T30" fmla="*/ 41 w 239"/>
                <a:gd name="T31" fmla="*/ 38 h 56"/>
                <a:gd name="T32" fmla="*/ 54 w 239"/>
                <a:gd name="T33" fmla="*/ 38 h 56"/>
                <a:gd name="T34" fmla="*/ 153 w 239"/>
                <a:gd name="T35" fmla="*/ 38 h 56"/>
                <a:gd name="T36" fmla="*/ 155 w 239"/>
                <a:gd name="T37" fmla="*/ 41 h 56"/>
                <a:gd name="T38" fmla="*/ 156 w 239"/>
                <a:gd name="T39" fmla="*/ 44 h 56"/>
                <a:gd name="T40" fmla="*/ 159 w 239"/>
                <a:gd name="T41" fmla="*/ 46 h 56"/>
                <a:gd name="T42" fmla="*/ 162 w 239"/>
                <a:gd name="T43" fmla="*/ 48 h 56"/>
                <a:gd name="T44" fmla="*/ 167 w 239"/>
                <a:gd name="T45" fmla="*/ 51 h 56"/>
                <a:gd name="T46" fmla="*/ 174 w 239"/>
                <a:gd name="T47" fmla="*/ 54 h 56"/>
                <a:gd name="T48" fmla="*/ 188 w 239"/>
                <a:gd name="T49" fmla="*/ 56 h 56"/>
                <a:gd name="T50" fmla="*/ 200 w 239"/>
                <a:gd name="T51" fmla="*/ 56 h 56"/>
                <a:gd name="T52" fmla="*/ 204 w 239"/>
                <a:gd name="T53" fmla="*/ 55 h 56"/>
                <a:gd name="T54" fmla="*/ 210 w 239"/>
                <a:gd name="T55" fmla="*/ 54 h 56"/>
                <a:gd name="T56" fmla="*/ 214 w 239"/>
                <a:gd name="T57" fmla="*/ 52 h 56"/>
                <a:gd name="T58" fmla="*/ 220 w 239"/>
                <a:gd name="T59" fmla="*/ 49 h 56"/>
                <a:gd name="T60" fmla="*/ 230 w 239"/>
                <a:gd name="T61" fmla="*/ 43 h 56"/>
                <a:gd name="T62" fmla="*/ 239 w 239"/>
                <a:gd name="T63" fmla="*/ 38 h 56"/>
                <a:gd name="T64" fmla="*/ 232 w 239"/>
                <a:gd name="T65" fmla="*/ 37 h 56"/>
                <a:gd name="T66" fmla="*/ 225 w 239"/>
                <a:gd name="T67" fmla="*/ 36 h 56"/>
                <a:gd name="T68" fmla="*/ 219 w 239"/>
                <a:gd name="T69" fmla="*/ 34 h 56"/>
                <a:gd name="T70" fmla="*/ 213 w 239"/>
                <a:gd name="T71" fmla="*/ 32 h 56"/>
                <a:gd name="T72" fmla="*/ 201 w 239"/>
                <a:gd name="T73" fmla="*/ 26 h 56"/>
                <a:gd name="T74" fmla="*/ 190 w 239"/>
                <a:gd name="T75" fmla="*/ 19 h 56"/>
                <a:gd name="T76" fmla="*/ 178 w 239"/>
                <a:gd name="T77" fmla="*/ 13 h 56"/>
                <a:gd name="T78" fmla="*/ 167 w 239"/>
                <a:gd name="T79" fmla="*/ 6 h 56"/>
                <a:gd name="T80" fmla="*/ 160 w 239"/>
                <a:gd name="T81" fmla="*/ 4 h 56"/>
                <a:gd name="T82" fmla="*/ 154 w 239"/>
                <a:gd name="T83" fmla="*/ 2 h 56"/>
                <a:gd name="T84" fmla="*/ 147 w 239"/>
                <a:gd name="T85" fmla="*/ 1 h 56"/>
                <a:gd name="T86" fmla="*/ 140 w 239"/>
                <a:gd name="T87" fmla="*/ 0 h 56"/>
                <a:gd name="T88" fmla="*/ 134 w 239"/>
                <a:gd name="T89" fmla="*/ 1 h 56"/>
                <a:gd name="T90" fmla="*/ 127 w 239"/>
                <a:gd name="T91" fmla="*/ 4 h 56"/>
                <a:gd name="T92" fmla="*/ 124 w 239"/>
                <a:gd name="T93" fmla="*/ 6 h 56"/>
                <a:gd name="T94" fmla="*/ 122 w 239"/>
                <a:gd name="T95" fmla="*/ 8 h 56"/>
                <a:gd name="T96" fmla="*/ 121 w 239"/>
                <a:gd name="T97" fmla="*/ 10 h 56"/>
                <a:gd name="T98" fmla="*/ 120 w 239"/>
                <a:gd name="T99" fmla="*/ 13 h 56"/>
                <a:gd name="T100" fmla="*/ 100 w 239"/>
                <a:gd name="T101" fmla="*/ 8 h 56"/>
                <a:gd name="T102" fmla="*/ 80 w 239"/>
                <a:gd name="T103" fmla="*/ 4 h 56"/>
                <a:gd name="T104" fmla="*/ 61 w 239"/>
                <a:gd name="T105" fmla="*/ 1 h 56"/>
                <a:gd name="T106" fmla="*/ 41 w 239"/>
                <a:gd name="T107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34" name="Freeform 495"/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5708650" y="1265238"/>
              <a:ext cx="82550" cy="57150"/>
            </a:xfrm>
            <a:custGeom>
              <a:avLst/>
              <a:gdLst>
                <a:gd name="T0" fmla="*/ 14 w 187"/>
                <a:gd name="T1" fmla="*/ 19 h 80"/>
                <a:gd name="T2" fmla="*/ 41 w 187"/>
                <a:gd name="T3" fmla="*/ 0 h 80"/>
                <a:gd name="T4" fmla="*/ 44 w 187"/>
                <a:gd name="T5" fmla="*/ 3 h 80"/>
                <a:gd name="T6" fmla="*/ 50 w 187"/>
                <a:gd name="T7" fmla="*/ 6 h 80"/>
                <a:gd name="T8" fmla="*/ 58 w 187"/>
                <a:gd name="T9" fmla="*/ 9 h 80"/>
                <a:gd name="T10" fmla="*/ 67 w 187"/>
                <a:gd name="T11" fmla="*/ 12 h 80"/>
                <a:gd name="T12" fmla="*/ 89 w 187"/>
                <a:gd name="T13" fmla="*/ 19 h 80"/>
                <a:gd name="T14" fmla="*/ 114 w 187"/>
                <a:gd name="T15" fmla="*/ 26 h 80"/>
                <a:gd name="T16" fmla="*/ 139 w 187"/>
                <a:gd name="T17" fmla="*/ 33 h 80"/>
                <a:gd name="T18" fmla="*/ 161 w 187"/>
                <a:gd name="T19" fmla="*/ 38 h 80"/>
                <a:gd name="T20" fmla="*/ 177 w 187"/>
                <a:gd name="T21" fmla="*/ 42 h 80"/>
                <a:gd name="T22" fmla="*/ 187 w 187"/>
                <a:gd name="T23" fmla="*/ 43 h 80"/>
                <a:gd name="T24" fmla="*/ 187 w 187"/>
                <a:gd name="T25" fmla="*/ 56 h 80"/>
                <a:gd name="T26" fmla="*/ 187 w 187"/>
                <a:gd name="T27" fmla="*/ 68 h 80"/>
                <a:gd name="T28" fmla="*/ 170 w 187"/>
                <a:gd name="T29" fmla="*/ 70 h 80"/>
                <a:gd name="T30" fmla="*/ 151 w 187"/>
                <a:gd name="T31" fmla="*/ 71 h 80"/>
                <a:gd name="T32" fmla="*/ 133 w 187"/>
                <a:gd name="T33" fmla="*/ 71 h 80"/>
                <a:gd name="T34" fmla="*/ 116 w 187"/>
                <a:gd name="T35" fmla="*/ 70 h 80"/>
                <a:gd name="T36" fmla="*/ 85 w 187"/>
                <a:gd name="T37" fmla="*/ 69 h 80"/>
                <a:gd name="T38" fmla="*/ 61 w 187"/>
                <a:gd name="T39" fmla="*/ 68 h 80"/>
                <a:gd name="T40" fmla="*/ 55 w 187"/>
                <a:gd name="T41" fmla="*/ 69 h 80"/>
                <a:gd name="T42" fmla="*/ 51 w 187"/>
                <a:gd name="T43" fmla="*/ 70 h 80"/>
                <a:gd name="T44" fmla="*/ 45 w 187"/>
                <a:gd name="T45" fmla="*/ 72 h 80"/>
                <a:gd name="T46" fmla="*/ 41 w 187"/>
                <a:gd name="T47" fmla="*/ 74 h 80"/>
                <a:gd name="T48" fmla="*/ 33 w 187"/>
                <a:gd name="T49" fmla="*/ 78 h 80"/>
                <a:gd name="T50" fmla="*/ 28 w 187"/>
                <a:gd name="T51" fmla="*/ 80 h 80"/>
                <a:gd name="T52" fmla="*/ 22 w 187"/>
                <a:gd name="T53" fmla="*/ 79 h 80"/>
                <a:gd name="T54" fmla="*/ 18 w 187"/>
                <a:gd name="T55" fmla="*/ 76 h 80"/>
                <a:gd name="T56" fmla="*/ 14 w 187"/>
                <a:gd name="T57" fmla="*/ 72 h 80"/>
                <a:gd name="T58" fmla="*/ 9 w 187"/>
                <a:gd name="T59" fmla="*/ 67 h 80"/>
                <a:gd name="T60" fmla="*/ 6 w 187"/>
                <a:gd name="T61" fmla="*/ 62 h 80"/>
                <a:gd name="T62" fmla="*/ 3 w 187"/>
                <a:gd name="T63" fmla="*/ 57 h 80"/>
                <a:gd name="T64" fmla="*/ 2 w 187"/>
                <a:gd name="T65" fmla="*/ 53 h 80"/>
                <a:gd name="T66" fmla="*/ 0 w 187"/>
                <a:gd name="T67" fmla="*/ 50 h 80"/>
                <a:gd name="T68" fmla="*/ 2 w 187"/>
                <a:gd name="T69" fmla="*/ 44 h 80"/>
                <a:gd name="T70" fmla="*/ 3 w 187"/>
                <a:gd name="T71" fmla="*/ 40 h 80"/>
                <a:gd name="T72" fmla="*/ 5 w 187"/>
                <a:gd name="T73" fmla="*/ 36 h 80"/>
                <a:gd name="T74" fmla="*/ 7 w 187"/>
                <a:gd name="T75" fmla="*/ 31 h 80"/>
                <a:gd name="T76" fmla="*/ 13 w 187"/>
                <a:gd name="T77" fmla="*/ 24 h 80"/>
                <a:gd name="T78" fmla="*/ 14 w 187"/>
                <a:gd name="T79" fmla="*/ 1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35" name="Freeform 496"/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6235700" y="1390650"/>
              <a:ext cx="79375" cy="58738"/>
            </a:xfrm>
            <a:custGeom>
              <a:avLst/>
              <a:gdLst>
                <a:gd name="T0" fmla="*/ 50 w 183"/>
                <a:gd name="T1" fmla="*/ 0 h 73"/>
                <a:gd name="T2" fmla="*/ 63 w 183"/>
                <a:gd name="T3" fmla="*/ 0 h 73"/>
                <a:gd name="T4" fmla="*/ 75 w 183"/>
                <a:gd name="T5" fmla="*/ 1 h 73"/>
                <a:gd name="T6" fmla="*/ 86 w 183"/>
                <a:gd name="T7" fmla="*/ 4 h 73"/>
                <a:gd name="T8" fmla="*/ 97 w 183"/>
                <a:gd name="T9" fmla="*/ 7 h 73"/>
                <a:gd name="T10" fmla="*/ 106 w 183"/>
                <a:gd name="T11" fmla="*/ 10 h 73"/>
                <a:gd name="T12" fmla="*/ 116 w 183"/>
                <a:gd name="T13" fmla="*/ 15 h 73"/>
                <a:gd name="T14" fmla="*/ 124 w 183"/>
                <a:gd name="T15" fmla="*/ 19 h 73"/>
                <a:gd name="T16" fmla="*/ 131 w 183"/>
                <a:gd name="T17" fmla="*/ 25 h 73"/>
                <a:gd name="T18" fmla="*/ 159 w 183"/>
                <a:gd name="T19" fmla="*/ 49 h 73"/>
                <a:gd name="T20" fmla="*/ 183 w 183"/>
                <a:gd name="T21" fmla="*/ 73 h 73"/>
                <a:gd name="T22" fmla="*/ 137 w 183"/>
                <a:gd name="T23" fmla="*/ 73 h 73"/>
                <a:gd name="T24" fmla="*/ 128 w 183"/>
                <a:gd name="T25" fmla="*/ 72 h 73"/>
                <a:gd name="T26" fmla="*/ 117 w 183"/>
                <a:gd name="T27" fmla="*/ 70 h 73"/>
                <a:gd name="T28" fmla="*/ 104 w 183"/>
                <a:gd name="T29" fmla="*/ 66 h 73"/>
                <a:gd name="T30" fmla="*/ 90 w 183"/>
                <a:gd name="T31" fmla="*/ 62 h 73"/>
                <a:gd name="T32" fmla="*/ 73 w 183"/>
                <a:gd name="T33" fmla="*/ 56 h 73"/>
                <a:gd name="T34" fmla="*/ 58 w 183"/>
                <a:gd name="T35" fmla="*/ 50 h 73"/>
                <a:gd name="T36" fmla="*/ 42 w 183"/>
                <a:gd name="T37" fmla="*/ 44 h 73"/>
                <a:gd name="T38" fmla="*/ 28 w 183"/>
                <a:gd name="T39" fmla="*/ 37 h 73"/>
                <a:gd name="T40" fmla="*/ 16 w 183"/>
                <a:gd name="T41" fmla="*/ 30 h 73"/>
                <a:gd name="T42" fmla="*/ 7 w 183"/>
                <a:gd name="T43" fmla="*/ 23 h 73"/>
                <a:gd name="T44" fmla="*/ 4 w 183"/>
                <a:gd name="T45" fmla="*/ 19 h 73"/>
                <a:gd name="T46" fmla="*/ 2 w 183"/>
                <a:gd name="T47" fmla="*/ 16 h 73"/>
                <a:gd name="T48" fmla="*/ 1 w 183"/>
                <a:gd name="T49" fmla="*/ 14 h 73"/>
                <a:gd name="T50" fmla="*/ 0 w 183"/>
                <a:gd name="T51" fmla="*/ 11 h 73"/>
                <a:gd name="T52" fmla="*/ 1 w 183"/>
                <a:gd name="T53" fmla="*/ 8 h 73"/>
                <a:gd name="T54" fmla="*/ 3 w 183"/>
                <a:gd name="T55" fmla="*/ 6 h 73"/>
                <a:gd name="T56" fmla="*/ 7 w 183"/>
                <a:gd name="T57" fmla="*/ 4 h 73"/>
                <a:gd name="T58" fmla="*/ 13 w 183"/>
                <a:gd name="T59" fmla="*/ 3 h 73"/>
                <a:gd name="T60" fmla="*/ 19 w 183"/>
                <a:gd name="T61" fmla="*/ 1 h 73"/>
                <a:gd name="T62" fmla="*/ 28 w 183"/>
                <a:gd name="T63" fmla="*/ 0 h 73"/>
                <a:gd name="T64" fmla="*/ 38 w 183"/>
                <a:gd name="T65" fmla="*/ 0 h 73"/>
                <a:gd name="T66" fmla="*/ 50 w 183"/>
                <a:gd name="T67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36" name="Freeform 497"/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6302375" y="1408113"/>
              <a:ext cx="33338" cy="57150"/>
            </a:xfrm>
            <a:custGeom>
              <a:avLst/>
              <a:gdLst>
                <a:gd name="T0" fmla="*/ 0 w 79"/>
                <a:gd name="T1" fmla="*/ 6 h 42"/>
                <a:gd name="T2" fmla="*/ 23 w 79"/>
                <a:gd name="T3" fmla="*/ 2 h 42"/>
                <a:gd name="T4" fmla="*/ 41 w 79"/>
                <a:gd name="T5" fmla="*/ 1 h 42"/>
                <a:gd name="T6" fmla="*/ 60 w 79"/>
                <a:gd name="T7" fmla="*/ 0 h 42"/>
                <a:gd name="T8" fmla="*/ 79 w 79"/>
                <a:gd name="T9" fmla="*/ 0 h 42"/>
                <a:gd name="T10" fmla="*/ 79 w 79"/>
                <a:gd name="T11" fmla="*/ 9 h 42"/>
                <a:gd name="T12" fmla="*/ 79 w 79"/>
                <a:gd name="T13" fmla="*/ 18 h 42"/>
                <a:gd name="T14" fmla="*/ 79 w 79"/>
                <a:gd name="T15" fmla="*/ 22 h 42"/>
                <a:gd name="T16" fmla="*/ 75 w 79"/>
                <a:gd name="T17" fmla="*/ 27 h 42"/>
                <a:gd name="T18" fmla="*/ 72 w 79"/>
                <a:gd name="T19" fmla="*/ 31 h 42"/>
                <a:gd name="T20" fmla="*/ 68 w 79"/>
                <a:gd name="T21" fmla="*/ 35 h 42"/>
                <a:gd name="T22" fmla="*/ 62 w 79"/>
                <a:gd name="T23" fmla="*/ 38 h 42"/>
                <a:gd name="T24" fmla="*/ 57 w 79"/>
                <a:gd name="T25" fmla="*/ 40 h 42"/>
                <a:gd name="T26" fmla="*/ 51 w 79"/>
                <a:gd name="T27" fmla="*/ 42 h 42"/>
                <a:gd name="T28" fmla="*/ 46 w 79"/>
                <a:gd name="T29" fmla="*/ 42 h 42"/>
                <a:gd name="T30" fmla="*/ 40 w 79"/>
                <a:gd name="T31" fmla="*/ 42 h 42"/>
                <a:gd name="T32" fmla="*/ 35 w 79"/>
                <a:gd name="T33" fmla="*/ 41 h 42"/>
                <a:gd name="T34" fmla="*/ 29 w 79"/>
                <a:gd name="T35" fmla="*/ 39 h 42"/>
                <a:gd name="T36" fmla="*/ 25 w 79"/>
                <a:gd name="T37" fmla="*/ 37 h 42"/>
                <a:gd name="T38" fmla="*/ 16 w 79"/>
                <a:gd name="T39" fmla="*/ 32 h 42"/>
                <a:gd name="T40" fmla="*/ 11 w 79"/>
                <a:gd name="T41" fmla="*/ 26 h 42"/>
                <a:gd name="T42" fmla="*/ 5 w 79"/>
                <a:gd name="T43" fmla="*/ 20 h 42"/>
                <a:gd name="T44" fmla="*/ 2 w 79"/>
                <a:gd name="T45" fmla="*/ 14 h 42"/>
                <a:gd name="T46" fmla="*/ 0 w 79"/>
                <a:gd name="T47" fmla="*/ 9 h 42"/>
                <a:gd name="T48" fmla="*/ 0 w 79"/>
                <a:gd name="T49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37" name="Freeform 498"/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6332538" y="1419225"/>
              <a:ext cx="52387" cy="58738"/>
            </a:xfrm>
            <a:custGeom>
              <a:avLst/>
              <a:gdLst>
                <a:gd name="T0" fmla="*/ 113 w 113"/>
                <a:gd name="T1" fmla="*/ 39 h 52"/>
                <a:gd name="T2" fmla="*/ 112 w 113"/>
                <a:gd name="T3" fmla="*/ 42 h 52"/>
                <a:gd name="T4" fmla="*/ 109 w 113"/>
                <a:gd name="T5" fmla="*/ 45 h 52"/>
                <a:gd name="T6" fmla="*/ 106 w 113"/>
                <a:gd name="T7" fmla="*/ 47 h 52"/>
                <a:gd name="T8" fmla="*/ 103 w 113"/>
                <a:gd name="T9" fmla="*/ 49 h 52"/>
                <a:gd name="T10" fmla="*/ 94 w 113"/>
                <a:gd name="T11" fmla="*/ 51 h 52"/>
                <a:gd name="T12" fmla="*/ 85 w 113"/>
                <a:gd name="T13" fmla="*/ 52 h 52"/>
                <a:gd name="T14" fmla="*/ 66 w 113"/>
                <a:gd name="T15" fmla="*/ 52 h 52"/>
                <a:gd name="T16" fmla="*/ 53 w 113"/>
                <a:gd name="T17" fmla="*/ 51 h 52"/>
                <a:gd name="T18" fmla="*/ 47 w 113"/>
                <a:gd name="T19" fmla="*/ 51 h 52"/>
                <a:gd name="T20" fmla="*/ 39 w 113"/>
                <a:gd name="T21" fmla="*/ 48 h 52"/>
                <a:gd name="T22" fmla="*/ 30 w 113"/>
                <a:gd name="T23" fmla="*/ 45 h 52"/>
                <a:gd name="T24" fmla="*/ 21 w 113"/>
                <a:gd name="T25" fmla="*/ 41 h 52"/>
                <a:gd name="T26" fmla="*/ 13 w 113"/>
                <a:gd name="T27" fmla="*/ 36 h 52"/>
                <a:gd name="T28" fmla="*/ 6 w 113"/>
                <a:gd name="T29" fmla="*/ 31 h 52"/>
                <a:gd name="T30" fmla="*/ 4 w 113"/>
                <a:gd name="T31" fmla="*/ 28 h 52"/>
                <a:gd name="T32" fmla="*/ 2 w 113"/>
                <a:gd name="T33" fmla="*/ 25 h 52"/>
                <a:gd name="T34" fmla="*/ 1 w 113"/>
                <a:gd name="T35" fmla="*/ 22 h 52"/>
                <a:gd name="T36" fmla="*/ 0 w 113"/>
                <a:gd name="T37" fmla="*/ 20 h 52"/>
                <a:gd name="T38" fmla="*/ 1 w 113"/>
                <a:gd name="T39" fmla="*/ 15 h 52"/>
                <a:gd name="T40" fmla="*/ 1 w 113"/>
                <a:gd name="T41" fmla="*/ 11 h 52"/>
                <a:gd name="T42" fmla="*/ 3 w 113"/>
                <a:gd name="T43" fmla="*/ 8 h 52"/>
                <a:gd name="T44" fmla="*/ 5 w 113"/>
                <a:gd name="T45" fmla="*/ 5 h 52"/>
                <a:gd name="T46" fmla="*/ 7 w 113"/>
                <a:gd name="T47" fmla="*/ 3 h 52"/>
                <a:gd name="T48" fmla="*/ 10 w 113"/>
                <a:gd name="T49" fmla="*/ 2 h 52"/>
                <a:gd name="T50" fmla="*/ 14 w 113"/>
                <a:gd name="T51" fmla="*/ 1 h 52"/>
                <a:gd name="T52" fmla="*/ 17 w 113"/>
                <a:gd name="T53" fmla="*/ 0 h 52"/>
                <a:gd name="T54" fmla="*/ 26 w 113"/>
                <a:gd name="T55" fmla="*/ 0 h 52"/>
                <a:gd name="T56" fmla="*/ 36 w 113"/>
                <a:gd name="T57" fmla="*/ 2 h 52"/>
                <a:gd name="T58" fmla="*/ 46 w 113"/>
                <a:gd name="T59" fmla="*/ 5 h 52"/>
                <a:gd name="T60" fmla="*/ 57 w 113"/>
                <a:gd name="T61" fmla="*/ 9 h 52"/>
                <a:gd name="T62" fmla="*/ 77 w 113"/>
                <a:gd name="T63" fmla="*/ 18 h 52"/>
                <a:gd name="T64" fmla="*/ 95 w 113"/>
                <a:gd name="T65" fmla="*/ 29 h 52"/>
                <a:gd name="T66" fmla="*/ 108 w 113"/>
                <a:gd name="T67" fmla="*/ 36 h 52"/>
                <a:gd name="T68" fmla="*/ 113 w 113"/>
                <a:gd name="T69" fmla="*/ 39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38" name="Freeform 499"/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6103938" y="1392238"/>
              <a:ext cx="61912" cy="58737"/>
            </a:xfrm>
            <a:custGeom>
              <a:avLst/>
              <a:gdLst>
                <a:gd name="T0" fmla="*/ 0 w 139"/>
                <a:gd name="T1" fmla="*/ 8 h 40"/>
                <a:gd name="T2" fmla="*/ 8 w 139"/>
                <a:gd name="T3" fmla="*/ 9 h 40"/>
                <a:gd name="T4" fmla="*/ 19 w 139"/>
                <a:gd name="T5" fmla="*/ 8 h 40"/>
                <a:gd name="T6" fmla="*/ 30 w 139"/>
                <a:gd name="T7" fmla="*/ 7 h 40"/>
                <a:gd name="T8" fmla="*/ 42 w 139"/>
                <a:gd name="T9" fmla="*/ 5 h 40"/>
                <a:gd name="T10" fmla="*/ 53 w 139"/>
                <a:gd name="T11" fmla="*/ 2 h 40"/>
                <a:gd name="T12" fmla="*/ 64 w 139"/>
                <a:gd name="T13" fmla="*/ 1 h 40"/>
                <a:gd name="T14" fmla="*/ 73 w 139"/>
                <a:gd name="T15" fmla="*/ 0 h 40"/>
                <a:gd name="T16" fmla="*/ 80 w 139"/>
                <a:gd name="T17" fmla="*/ 2 h 40"/>
                <a:gd name="T18" fmla="*/ 139 w 139"/>
                <a:gd name="T19" fmla="*/ 39 h 40"/>
                <a:gd name="T20" fmla="*/ 133 w 139"/>
                <a:gd name="T21" fmla="*/ 40 h 40"/>
                <a:gd name="T22" fmla="*/ 125 w 139"/>
                <a:gd name="T23" fmla="*/ 39 h 40"/>
                <a:gd name="T24" fmla="*/ 116 w 139"/>
                <a:gd name="T25" fmla="*/ 38 h 40"/>
                <a:gd name="T26" fmla="*/ 106 w 139"/>
                <a:gd name="T27" fmla="*/ 36 h 40"/>
                <a:gd name="T28" fmla="*/ 86 w 139"/>
                <a:gd name="T29" fmla="*/ 30 h 40"/>
                <a:gd name="T30" fmla="*/ 64 w 139"/>
                <a:gd name="T31" fmla="*/ 24 h 40"/>
                <a:gd name="T32" fmla="*/ 44 w 139"/>
                <a:gd name="T33" fmla="*/ 16 h 40"/>
                <a:gd name="T34" fmla="*/ 26 w 139"/>
                <a:gd name="T35" fmla="*/ 11 h 40"/>
                <a:gd name="T36" fmla="*/ 17 w 139"/>
                <a:gd name="T37" fmla="*/ 9 h 40"/>
                <a:gd name="T38" fmla="*/ 11 w 139"/>
                <a:gd name="T39" fmla="*/ 7 h 40"/>
                <a:gd name="T40" fmla="*/ 4 w 139"/>
                <a:gd name="T41" fmla="*/ 7 h 40"/>
                <a:gd name="T42" fmla="*/ 0 w 139"/>
                <a:gd name="T43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39" name="Freeform 500"/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6403975" y="1333500"/>
              <a:ext cx="139700" cy="57150"/>
            </a:xfrm>
            <a:custGeom>
              <a:avLst/>
              <a:gdLst>
                <a:gd name="T0" fmla="*/ 10 w 325"/>
                <a:gd name="T1" fmla="*/ 7 h 71"/>
                <a:gd name="T2" fmla="*/ 31 w 325"/>
                <a:gd name="T3" fmla="*/ 1 h 71"/>
                <a:gd name="T4" fmla="*/ 53 w 325"/>
                <a:gd name="T5" fmla="*/ 0 h 71"/>
                <a:gd name="T6" fmla="*/ 73 w 325"/>
                <a:gd name="T7" fmla="*/ 4 h 71"/>
                <a:gd name="T8" fmla="*/ 92 w 325"/>
                <a:gd name="T9" fmla="*/ 10 h 71"/>
                <a:gd name="T10" fmla="*/ 110 w 325"/>
                <a:gd name="T11" fmla="*/ 18 h 71"/>
                <a:gd name="T12" fmla="*/ 122 w 325"/>
                <a:gd name="T13" fmla="*/ 29 h 71"/>
                <a:gd name="T14" fmla="*/ 130 w 325"/>
                <a:gd name="T15" fmla="*/ 38 h 71"/>
                <a:gd name="T16" fmla="*/ 136 w 325"/>
                <a:gd name="T17" fmla="*/ 34 h 71"/>
                <a:gd name="T18" fmla="*/ 139 w 325"/>
                <a:gd name="T19" fmla="*/ 15 h 71"/>
                <a:gd name="T20" fmla="*/ 161 w 325"/>
                <a:gd name="T21" fmla="*/ 7 h 71"/>
                <a:gd name="T22" fmla="*/ 216 w 325"/>
                <a:gd name="T23" fmla="*/ 13 h 71"/>
                <a:gd name="T24" fmla="*/ 258 w 325"/>
                <a:gd name="T25" fmla="*/ 23 h 71"/>
                <a:gd name="T26" fmla="*/ 283 w 325"/>
                <a:gd name="T27" fmla="*/ 32 h 71"/>
                <a:gd name="T28" fmla="*/ 305 w 325"/>
                <a:gd name="T29" fmla="*/ 43 h 71"/>
                <a:gd name="T30" fmla="*/ 320 w 325"/>
                <a:gd name="T31" fmla="*/ 55 h 71"/>
                <a:gd name="T32" fmla="*/ 316 w 325"/>
                <a:gd name="T33" fmla="*/ 64 h 71"/>
                <a:gd name="T34" fmla="*/ 294 w 325"/>
                <a:gd name="T35" fmla="*/ 68 h 71"/>
                <a:gd name="T36" fmla="*/ 259 w 325"/>
                <a:gd name="T37" fmla="*/ 71 h 71"/>
                <a:gd name="T38" fmla="*/ 210 w 325"/>
                <a:gd name="T39" fmla="*/ 70 h 71"/>
                <a:gd name="T40" fmla="*/ 167 w 325"/>
                <a:gd name="T41" fmla="*/ 68 h 71"/>
                <a:gd name="T42" fmla="*/ 133 w 325"/>
                <a:gd name="T43" fmla="*/ 69 h 71"/>
                <a:gd name="T44" fmla="*/ 90 w 325"/>
                <a:gd name="T45" fmla="*/ 71 h 71"/>
                <a:gd name="T46" fmla="*/ 72 w 325"/>
                <a:gd name="T47" fmla="*/ 68 h 71"/>
                <a:gd name="T48" fmla="*/ 67 w 325"/>
                <a:gd name="T49" fmla="*/ 64 h 71"/>
                <a:gd name="T50" fmla="*/ 58 w 325"/>
                <a:gd name="T51" fmla="*/ 61 h 71"/>
                <a:gd name="T52" fmla="*/ 46 w 325"/>
                <a:gd name="T53" fmla="*/ 59 h 71"/>
                <a:gd name="T54" fmla="*/ 35 w 325"/>
                <a:gd name="T55" fmla="*/ 53 h 71"/>
                <a:gd name="T56" fmla="*/ 25 w 325"/>
                <a:gd name="T57" fmla="*/ 45 h 71"/>
                <a:gd name="T58" fmla="*/ 16 w 325"/>
                <a:gd name="T59" fmla="*/ 39 h 71"/>
                <a:gd name="T60" fmla="*/ 6 w 325"/>
                <a:gd name="T61" fmla="*/ 37 h 71"/>
                <a:gd name="T62" fmla="*/ 0 w 325"/>
                <a:gd name="T63" fmla="*/ 2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40" name="Freeform 501"/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6564313" y="1341438"/>
              <a:ext cx="95250" cy="57150"/>
            </a:xfrm>
            <a:custGeom>
              <a:avLst/>
              <a:gdLst>
                <a:gd name="T0" fmla="*/ 87 w 220"/>
                <a:gd name="T1" fmla="*/ 25 h 72"/>
                <a:gd name="T2" fmla="*/ 92 w 220"/>
                <a:gd name="T3" fmla="*/ 26 h 72"/>
                <a:gd name="T4" fmla="*/ 98 w 220"/>
                <a:gd name="T5" fmla="*/ 27 h 72"/>
                <a:gd name="T6" fmla="*/ 101 w 220"/>
                <a:gd name="T7" fmla="*/ 28 h 72"/>
                <a:gd name="T8" fmla="*/ 104 w 220"/>
                <a:gd name="T9" fmla="*/ 27 h 72"/>
                <a:gd name="T10" fmla="*/ 109 w 220"/>
                <a:gd name="T11" fmla="*/ 27 h 72"/>
                <a:gd name="T12" fmla="*/ 113 w 220"/>
                <a:gd name="T13" fmla="*/ 25 h 72"/>
                <a:gd name="T14" fmla="*/ 114 w 220"/>
                <a:gd name="T15" fmla="*/ 26 h 72"/>
                <a:gd name="T16" fmla="*/ 115 w 220"/>
                <a:gd name="T17" fmla="*/ 26 h 72"/>
                <a:gd name="T18" fmla="*/ 116 w 220"/>
                <a:gd name="T19" fmla="*/ 25 h 72"/>
                <a:gd name="T20" fmla="*/ 117 w 220"/>
                <a:gd name="T21" fmla="*/ 25 h 72"/>
                <a:gd name="T22" fmla="*/ 119 w 220"/>
                <a:gd name="T23" fmla="*/ 22 h 72"/>
                <a:gd name="T24" fmla="*/ 120 w 220"/>
                <a:gd name="T25" fmla="*/ 17 h 72"/>
                <a:gd name="T26" fmla="*/ 120 w 220"/>
                <a:gd name="T27" fmla="*/ 7 h 72"/>
                <a:gd name="T28" fmla="*/ 120 w 220"/>
                <a:gd name="T29" fmla="*/ 0 h 72"/>
                <a:gd name="T30" fmla="*/ 125 w 220"/>
                <a:gd name="T31" fmla="*/ 5 h 72"/>
                <a:gd name="T32" fmla="*/ 131 w 220"/>
                <a:gd name="T33" fmla="*/ 10 h 72"/>
                <a:gd name="T34" fmla="*/ 137 w 220"/>
                <a:gd name="T35" fmla="*/ 15 h 72"/>
                <a:gd name="T36" fmla="*/ 143 w 220"/>
                <a:gd name="T37" fmla="*/ 19 h 72"/>
                <a:gd name="T38" fmla="*/ 156 w 220"/>
                <a:gd name="T39" fmla="*/ 25 h 72"/>
                <a:gd name="T40" fmla="*/ 170 w 220"/>
                <a:gd name="T41" fmla="*/ 30 h 72"/>
                <a:gd name="T42" fmla="*/ 183 w 220"/>
                <a:gd name="T43" fmla="*/ 35 h 72"/>
                <a:gd name="T44" fmla="*/ 196 w 220"/>
                <a:gd name="T45" fmla="*/ 41 h 72"/>
                <a:gd name="T46" fmla="*/ 203 w 220"/>
                <a:gd name="T47" fmla="*/ 44 h 72"/>
                <a:gd name="T48" fmla="*/ 209 w 220"/>
                <a:gd name="T49" fmla="*/ 47 h 72"/>
                <a:gd name="T50" fmla="*/ 214 w 220"/>
                <a:gd name="T51" fmla="*/ 51 h 72"/>
                <a:gd name="T52" fmla="*/ 220 w 220"/>
                <a:gd name="T53" fmla="*/ 55 h 72"/>
                <a:gd name="T54" fmla="*/ 206 w 220"/>
                <a:gd name="T55" fmla="*/ 56 h 72"/>
                <a:gd name="T56" fmla="*/ 194 w 220"/>
                <a:gd name="T57" fmla="*/ 57 h 72"/>
                <a:gd name="T58" fmla="*/ 182 w 220"/>
                <a:gd name="T59" fmla="*/ 58 h 72"/>
                <a:gd name="T60" fmla="*/ 171 w 220"/>
                <a:gd name="T61" fmla="*/ 60 h 72"/>
                <a:gd name="T62" fmla="*/ 151 w 220"/>
                <a:gd name="T63" fmla="*/ 65 h 72"/>
                <a:gd name="T64" fmla="*/ 134 w 220"/>
                <a:gd name="T65" fmla="*/ 70 h 72"/>
                <a:gd name="T66" fmla="*/ 126 w 220"/>
                <a:gd name="T67" fmla="*/ 71 h 72"/>
                <a:gd name="T68" fmla="*/ 117 w 220"/>
                <a:gd name="T69" fmla="*/ 72 h 72"/>
                <a:gd name="T70" fmla="*/ 110 w 220"/>
                <a:gd name="T71" fmla="*/ 72 h 72"/>
                <a:gd name="T72" fmla="*/ 103 w 220"/>
                <a:gd name="T73" fmla="*/ 72 h 72"/>
                <a:gd name="T74" fmla="*/ 95 w 220"/>
                <a:gd name="T75" fmla="*/ 70 h 72"/>
                <a:gd name="T76" fmla="*/ 88 w 220"/>
                <a:gd name="T77" fmla="*/ 66 h 72"/>
                <a:gd name="T78" fmla="*/ 81 w 220"/>
                <a:gd name="T79" fmla="*/ 61 h 72"/>
                <a:gd name="T80" fmla="*/ 74 w 220"/>
                <a:gd name="T81" fmla="*/ 55 h 72"/>
                <a:gd name="T82" fmla="*/ 59 w 220"/>
                <a:gd name="T83" fmla="*/ 53 h 72"/>
                <a:gd name="T84" fmla="*/ 45 w 220"/>
                <a:gd name="T85" fmla="*/ 50 h 72"/>
                <a:gd name="T86" fmla="*/ 33 w 220"/>
                <a:gd name="T87" fmla="*/ 47 h 72"/>
                <a:gd name="T88" fmla="*/ 22 w 220"/>
                <a:gd name="T89" fmla="*/ 43 h 72"/>
                <a:gd name="T90" fmla="*/ 18 w 220"/>
                <a:gd name="T91" fmla="*/ 41 h 72"/>
                <a:gd name="T92" fmla="*/ 13 w 220"/>
                <a:gd name="T93" fmla="*/ 38 h 72"/>
                <a:gd name="T94" fmla="*/ 9 w 220"/>
                <a:gd name="T95" fmla="*/ 35 h 72"/>
                <a:gd name="T96" fmla="*/ 7 w 220"/>
                <a:gd name="T97" fmla="*/ 31 h 72"/>
                <a:gd name="T98" fmla="*/ 3 w 220"/>
                <a:gd name="T99" fmla="*/ 27 h 72"/>
                <a:gd name="T100" fmla="*/ 2 w 220"/>
                <a:gd name="T101" fmla="*/ 23 h 72"/>
                <a:gd name="T102" fmla="*/ 1 w 220"/>
                <a:gd name="T103" fmla="*/ 18 h 72"/>
                <a:gd name="T104" fmla="*/ 0 w 220"/>
                <a:gd name="T105" fmla="*/ 13 h 72"/>
                <a:gd name="T106" fmla="*/ 23 w 220"/>
                <a:gd name="T107" fmla="*/ 17 h 72"/>
                <a:gd name="T108" fmla="*/ 44 w 220"/>
                <a:gd name="T109" fmla="*/ 21 h 72"/>
                <a:gd name="T110" fmla="*/ 64 w 220"/>
                <a:gd name="T111" fmla="*/ 24 h 72"/>
                <a:gd name="T112" fmla="*/ 87 w 220"/>
                <a:gd name="T113" fmla="*/ 2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41" name="Freeform 502"/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6524625" y="1389063"/>
              <a:ext cx="63500" cy="58737"/>
            </a:xfrm>
            <a:custGeom>
              <a:avLst/>
              <a:gdLst>
                <a:gd name="T0" fmla="*/ 146 w 146"/>
                <a:gd name="T1" fmla="*/ 25 h 30"/>
                <a:gd name="T2" fmla="*/ 140 w 146"/>
                <a:gd name="T3" fmla="*/ 16 h 30"/>
                <a:gd name="T4" fmla="*/ 137 w 146"/>
                <a:gd name="T5" fmla="*/ 9 h 30"/>
                <a:gd name="T6" fmla="*/ 133 w 146"/>
                <a:gd name="T7" fmla="*/ 4 h 30"/>
                <a:gd name="T8" fmla="*/ 128 w 146"/>
                <a:gd name="T9" fmla="*/ 1 h 30"/>
                <a:gd name="T10" fmla="*/ 126 w 146"/>
                <a:gd name="T11" fmla="*/ 1 h 30"/>
                <a:gd name="T12" fmla="*/ 124 w 146"/>
                <a:gd name="T13" fmla="*/ 1 h 30"/>
                <a:gd name="T14" fmla="*/ 120 w 146"/>
                <a:gd name="T15" fmla="*/ 2 h 30"/>
                <a:gd name="T16" fmla="*/ 118 w 146"/>
                <a:gd name="T17" fmla="*/ 3 h 30"/>
                <a:gd name="T18" fmla="*/ 113 w 146"/>
                <a:gd name="T19" fmla="*/ 9 h 30"/>
                <a:gd name="T20" fmla="*/ 105 w 146"/>
                <a:gd name="T21" fmla="*/ 19 h 30"/>
                <a:gd name="T22" fmla="*/ 72 w 146"/>
                <a:gd name="T23" fmla="*/ 19 h 30"/>
                <a:gd name="T24" fmla="*/ 63 w 146"/>
                <a:gd name="T25" fmla="*/ 18 h 30"/>
                <a:gd name="T26" fmla="*/ 55 w 146"/>
                <a:gd name="T27" fmla="*/ 17 h 30"/>
                <a:gd name="T28" fmla="*/ 47 w 146"/>
                <a:gd name="T29" fmla="*/ 14 h 30"/>
                <a:gd name="T30" fmla="*/ 40 w 146"/>
                <a:gd name="T31" fmla="*/ 12 h 30"/>
                <a:gd name="T32" fmla="*/ 29 w 146"/>
                <a:gd name="T33" fmla="*/ 6 h 30"/>
                <a:gd name="T34" fmla="*/ 19 w 146"/>
                <a:gd name="T35" fmla="*/ 0 h 30"/>
                <a:gd name="T36" fmla="*/ 14 w 146"/>
                <a:gd name="T37" fmla="*/ 9 h 30"/>
                <a:gd name="T38" fmla="*/ 10 w 146"/>
                <a:gd name="T39" fmla="*/ 15 h 30"/>
                <a:gd name="T40" fmla="*/ 4 w 146"/>
                <a:gd name="T41" fmla="*/ 20 h 30"/>
                <a:gd name="T42" fmla="*/ 0 w 146"/>
                <a:gd name="T43" fmla="*/ 25 h 30"/>
                <a:gd name="T44" fmla="*/ 33 w 146"/>
                <a:gd name="T45" fmla="*/ 25 h 30"/>
                <a:gd name="T46" fmla="*/ 57 w 146"/>
                <a:gd name="T47" fmla="*/ 25 h 30"/>
                <a:gd name="T48" fmla="*/ 77 w 146"/>
                <a:gd name="T49" fmla="*/ 25 h 30"/>
                <a:gd name="T50" fmla="*/ 99 w 146"/>
                <a:gd name="T51" fmla="*/ 25 h 30"/>
                <a:gd name="T52" fmla="*/ 110 w 146"/>
                <a:gd name="T53" fmla="*/ 26 h 30"/>
                <a:gd name="T54" fmla="*/ 123 w 146"/>
                <a:gd name="T55" fmla="*/ 29 h 30"/>
                <a:gd name="T56" fmla="*/ 128 w 146"/>
                <a:gd name="T57" fmla="*/ 30 h 30"/>
                <a:gd name="T58" fmla="*/ 135 w 146"/>
                <a:gd name="T59" fmla="*/ 30 h 30"/>
                <a:gd name="T60" fmla="*/ 140 w 146"/>
                <a:gd name="T61" fmla="*/ 28 h 30"/>
                <a:gd name="T62" fmla="*/ 146 w 146"/>
                <a:gd name="T63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42" name="Freeform 503"/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6503988" y="1385888"/>
              <a:ext cx="20637" cy="58737"/>
            </a:xfrm>
            <a:custGeom>
              <a:avLst/>
              <a:gdLst>
                <a:gd name="T0" fmla="*/ 0 w 53"/>
                <a:gd name="T1" fmla="*/ 9 h 9"/>
                <a:gd name="T2" fmla="*/ 17 w 53"/>
                <a:gd name="T3" fmla="*/ 9 h 9"/>
                <a:gd name="T4" fmla="*/ 29 w 53"/>
                <a:gd name="T5" fmla="*/ 9 h 9"/>
                <a:gd name="T6" fmla="*/ 40 w 53"/>
                <a:gd name="T7" fmla="*/ 9 h 9"/>
                <a:gd name="T8" fmla="*/ 53 w 53"/>
                <a:gd name="T9" fmla="*/ 9 h 9"/>
                <a:gd name="T10" fmla="*/ 46 w 53"/>
                <a:gd name="T11" fmla="*/ 6 h 9"/>
                <a:gd name="T12" fmla="*/ 38 w 53"/>
                <a:gd name="T13" fmla="*/ 3 h 9"/>
                <a:gd name="T14" fmla="*/ 31 w 53"/>
                <a:gd name="T15" fmla="*/ 1 h 9"/>
                <a:gd name="T16" fmla="*/ 25 w 53"/>
                <a:gd name="T17" fmla="*/ 0 h 9"/>
                <a:gd name="T18" fmla="*/ 19 w 53"/>
                <a:gd name="T19" fmla="*/ 0 h 9"/>
                <a:gd name="T20" fmla="*/ 14 w 53"/>
                <a:gd name="T21" fmla="*/ 0 h 9"/>
                <a:gd name="T22" fmla="*/ 9 w 53"/>
                <a:gd name="T23" fmla="*/ 1 h 9"/>
                <a:gd name="T24" fmla="*/ 6 w 53"/>
                <a:gd name="T2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43" name="Line 504"/>
            <p:cNvSpPr>
              <a:spLocks noChangeShapeType="1"/>
            </p:cNvSpPr>
            <p:nvPr>
              <p:custDataLst>
                <p:tags r:id="rId337"/>
              </p:custDataLst>
            </p:nvPr>
          </p:nvSpPr>
          <p:spPr bwMode="auto">
            <a:xfrm flipV="1">
              <a:off x="6505575" y="1384300"/>
              <a:ext cx="0" cy="158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44" name="Freeform 505"/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5675313" y="1312863"/>
              <a:ext cx="11112" cy="55562"/>
            </a:xfrm>
            <a:custGeom>
              <a:avLst/>
              <a:gdLst>
                <a:gd name="T0" fmla="*/ 0 w 26"/>
                <a:gd name="T1" fmla="*/ 25 h 25"/>
                <a:gd name="T2" fmla="*/ 5 w 26"/>
                <a:gd name="T3" fmla="*/ 17 h 25"/>
                <a:gd name="T4" fmla="*/ 13 w 26"/>
                <a:gd name="T5" fmla="*/ 8 h 25"/>
                <a:gd name="T6" fmla="*/ 16 w 26"/>
                <a:gd name="T7" fmla="*/ 5 h 25"/>
                <a:gd name="T8" fmla="*/ 20 w 26"/>
                <a:gd name="T9" fmla="*/ 2 h 25"/>
                <a:gd name="T10" fmla="*/ 23 w 26"/>
                <a:gd name="T11" fmla="*/ 1 h 25"/>
                <a:gd name="T12" fmla="*/ 26 w 26"/>
                <a:gd name="T13" fmla="*/ 0 h 25"/>
                <a:gd name="T14" fmla="*/ 26 w 26"/>
                <a:gd name="T15" fmla="*/ 25 h 25"/>
                <a:gd name="T16" fmla="*/ 20 w 26"/>
                <a:gd name="T17" fmla="*/ 25 h 25"/>
                <a:gd name="T18" fmla="*/ 13 w 26"/>
                <a:gd name="T19" fmla="*/ 25 h 25"/>
                <a:gd name="T20" fmla="*/ 0 w 26"/>
                <a:gd name="T21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45" name="Freeform 506"/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6424613" y="1384300"/>
              <a:ext cx="9525" cy="57150"/>
            </a:xfrm>
            <a:custGeom>
              <a:avLst/>
              <a:gdLst>
                <a:gd name="T0" fmla="*/ 33 w 33"/>
                <a:gd name="T1" fmla="*/ 25 h 25"/>
                <a:gd name="T2" fmla="*/ 33 w 33"/>
                <a:gd name="T3" fmla="*/ 12 h 25"/>
                <a:gd name="T4" fmla="*/ 33 w 33"/>
                <a:gd name="T5" fmla="*/ 0 h 25"/>
                <a:gd name="T6" fmla="*/ 0 w 33"/>
                <a:gd name="T7" fmla="*/ 0 h 25"/>
                <a:gd name="T8" fmla="*/ 9 w 33"/>
                <a:gd name="T9" fmla="*/ 9 h 25"/>
                <a:gd name="T10" fmla="*/ 16 w 33"/>
                <a:gd name="T11" fmla="*/ 17 h 25"/>
                <a:gd name="T12" fmla="*/ 20 w 33"/>
                <a:gd name="T13" fmla="*/ 20 h 25"/>
                <a:gd name="T14" fmla="*/ 24 w 33"/>
                <a:gd name="T15" fmla="*/ 23 h 25"/>
                <a:gd name="T16" fmla="*/ 28 w 33"/>
                <a:gd name="T17" fmla="*/ 24 h 25"/>
                <a:gd name="T18" fmla="*/ 33 w 33"/>
                <a:gd name="T1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46" name="Freeform 507"/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6378575" y="1347788"/>
              <a:ext cx="9525" cy="57150"/>
            </a:xfrm>
            <a:custGeom>
              <a:avLst/>
              <a:gdLst>
                <a:gd name="T0" fmla="*/ 0 w 20"/>
                <a:gd name="T1" fmla="*/ 0 h 18"/>
                <a:gd name="T2" fmla="*/ 13 w 20"/>
                <a:gd name="T3" fmla="*/ 18 h 18"/>
                <a:gd name="T4" fmla="*/ 16 w 20"/>
                <a:gd name="T5" fmla="*/ 11 h 18"/>
                <a:gd name="T6" fmla="*/ 20 w 20"/>
                <a:gd name="T7" fmla="*/ 0 h 18"/>
                <a:gd name="T8" fmla="*/ 0 w 2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47" name="Freeform 508"/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6878638" y="1917700"/>
              <a:ext cx="12700" cy="58738"/>
            </a:xfrm>
            <a:custGeom>
              <a:avLst/>
              <a:gdLst>
                <a:gd name="T0" fmla="*/ 0 w 33"/>
                <a:gd name="T1" fmla="*/ 31 h 31"/>
                <a:gd name="T2" fmla="*/ 0 w 33"/>
                <a:gd name="T3" fmla="*/ 0 h 31"/>
                <a:gd name="T4" fmla="*/ 9 w 33"/>
                <a:gd name="T5" fmla="*/ 0 h 31"/>
                <a:gd name="T6" fmla="*/ 16 w 33"/>
                <a:gd name="T7" fmla="*/ 0 h 31"/>
                <a:gd name="T8" fmla="*/ 24 w 33"/>
                <a:gd name="T9" fmla="*/ 0 h 31"/>
                <a:gd name="T10" fmla="*/ 33 w 33"/>
                <a:gd name="T11" fmla="*/ 0 h 31"/>
                <a:gd name="T12" fmla="*/ 30 w 33"/>
                <a:gd name="T13" fmla="*/ 2 h 31"/>
                <a:gd name="T14" fmla="*/ 29 w 33"/>
                <a:gd name="T15" fmla="*/ 5 h 31"/>
                <a:gd name="T16" fmla="*/ 28 w 33"/>
                <a:gd name="T17" fmla="*/ 9 h 31"/>
                <a:gd name="T18" fmla="*/ 28 w 33"/>
                <a:gd name="T19" fmla="*/ 13 h 31"/>
                <a:gd name="T20" fmla="*/ 28 w 33"/>
                <a:gd name="T21" fmla="*/ 17 h 31"/>
                <a:gd name="T22" fmla="*/ 29 w 33"/>
                <a:gd name="T23" fmla="*/ 21 h 31"/>
                <a:gd name="T24" fmla="*/ 30 w 33"/>
                <a:gd name="T25" fmla="*/ 26 h 31"/>
                <a:gd name="T26" fmla="*/ 33 w 33"/>
                <a:gd name="T27" fmla="*/ 31 h 31"/>
                <a:gd name="T28" fmla="*/ 0 w 33"/>
                <a:gd name="T2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48" name="Freeform 509"/>
            <p:cNvSpPr>
              <a:spLocks/>
            </p:cNvSpPr>
            <p:nvPr>
              <p:custDataLst>
                <p:tags r:id="rId342"/>
              </p:custDataLst>
            </p:nvPr>
          </p:nvSpPr>
          <p:spPr bwMode="auto">
            <a:xfrm>
              <a:off x="7172325" y="1439863"/>
              <a:ext cx="55563" cy="58737"/>
            </a:xfrm>
            <a:custGeom>
              <a:avLst/>
              <a:gdLst>
                <a:gd name="T0" fmla="*/ 3 w 129"/>
                <a:gd name="T1" fmla="*/ 44 h 56"/>
                <a:gd name="T2" fmla="*/ 1 w 129"/>
                <a:gd name="T3" fmla="*/ 42 h 56"/>
                <a:gd name="T4" fmla="*/ 1 w 129"/>
                <a:gd name="T5" fmla="*/ 40 h 56"/>
                <a:gd name="T6" fmla="*/ 0 w 129"/>
                <a:gd name="T7" fmla="*/ 37 h 56"/>
                <a:gd name="T8" fmla="*/ 1 w 129"/>
                <a:gd name="T9" fmla="*/ 33 h 56"/>
                <a:gd name="T10" fmla="*/ 2 w 129"/>
                <a:gd name="T11" fmla="*/ 25 h 56"/>
                <a:gd name="T12" fmla="*/ 3 w 129"/>
                <a:gd name="T13" fmla="*/ 18 h 56"/>
                <a:gd name="T14" fmla="*/ 9 w 129"/>
                <a:gd name="T15" fmla="*/ 13 h 56"/>
                <a:gd name="T16" fmla="*/ 16 w 129"/>
                <a:gd name="T17" fmla="*/ 9 h 56"/>
                <a:gd name="T18" fmla="*/ 21 w 129"/>
                <a:gd name="T19" fmla="*/ 6 h 56"/>
                <a:gd name="T20" fmla="*/ 27 w 129"/>
                <a:gd name="T21" fmla="*/ 5 h 56"/>
                <a:gd name="T22" fmla="*/ 39 w 129"/>
                <a:gd name="T23" fmla="*/ 3 h 56"/>
                <a:gd name="T24" fmla="*/ 57 w 129"/>
                <a:gd name="T25" fmla="*/ 0 h 56"/>
                <a:gd name="T26" fmla="*/ 60 w 129"/>
                <a:gd name="T27" fmla="*/ 5 h 56"/>
                <a:gd name="T28" fmla="*/ 64 w 129"/>
                <a:gd name="T29" fmla="*/ 8 h 56"/>
                <a:gd name="T30" fmla="*/ 69 w 129"/>
                <a:gd name="T31" fmla="*/ 11 h 56"/>
                <a:gd name="T32" fmla="*/ 73 w 129"/>
                <a:gd name="T33" fmla="*/ 14 h 56"/>
                <a:gd name="T34" fmla="*/ 83 w 129"/>
                <a:gd name="T35" fmla="*/ 18 h 56"/>
                <a:gd name="T36" fmla="*/ 93 w 129"/>
                <a:gd name="T37" fmla="*/ 21 h 56"/>
                <a:gd name="T38" fmla="*/ 103 w 129"/>
                <a:gd name="T39" fmla="*/ 25 h 56"/>
                <a:gd name="T40" fmla="*/ 113 w 129"/>
                <a:gd name="T41" fmla="*/ 29 h 56"/>
                <a:gd name="T42" fmla="*/ 117 w 129"/>
                <a:gd name="T43" fmla="*/ 32 h 56"/>
                <a:gd name="T44" fmla="*/ 121 w 129"/>
                <a:gd name="T45" fmla="*/ 35 h 56"/>
                <a:gd name="T46" fmla="*/ 126 w 129"/>
                <a:gd name="T47" fmla="*/ 38 h 56"/>
                <a:gd name="T48" fmla="*/ 129 w 129"/>
                <a:gd name="T49" fmla="*/ 44 h 56"/>
                <a:gd name="T50" fmla="*/ 119 w 129"/>
                <a:gd name="T51" fmla="*/ 48 h 56"/>
                <a:gd name="T52" fmla="*/ 109 w 129"/>
                <a:gd name="T53" fmla="*/ 51 h 56"/>
                <a:gd name="T54" fmla="*/ 99 w 129"/>
                <a:gd name="T55" fmla="*/ 53 h 56"/>
                <a:gd name="T56" fmla="*/ 90 w 129"/>
                <a:gd name="T57" fmla="*/ 54 h 56"/>
                <a:gd name="T58" fmla="*/ 70 w 129"/>
                <a:gd name="T59" fmla="*/ 56 h 56"/>
                <a:gd name="T60" fmla="*/ 49 w 129"/>
                <a:gd name="T61" fmla="*/ 56 h 56"/>
                <a:gd name="T62" fmla="*/ 40 w 129"/>
                <a:gd name="T63" fmla="*/ 55 h 56"/>
                <a:gd name="T64" fmla="*/ 31 w 129"/>
                <a:gd name="T65" fmla="*/ 54 h 56"/>
                <a:gd name="T66" fmla="*/ 23 w 129"/>
                <a:gd name="T67" fmla="*/ 52 h 56"/>
                <a:gd name="T68" fmla="*/ 16 w 129"/>
                <a:gd name="T69" fmla="*/ 50 h 56"/>
                <a:gd name="T70" fmla="*/ 6 w 129"/>
                <a:gd name="T71" fmla="*/ 46 h 56"/>
                <a:gd name="T72" fmla="*/ 3 w 129"/>
                <a:gd name="T73" fmla="*/ 4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49" name="Freeform 510"/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7308850" y="1792288"/>
              <a:ext cx="14288" cy="57150"/>
            </a:xfrm>
            <a:custGeom>
              <a:avLst/>
              <a:gdLst>
                <a:gd name="T0" fmla="*/ 21 w 41"/>
                <a:gd name="T1" fmla="*/ 42 h 42"/>
                <a:gd name="T2" fmla="*/ 0 w 41"/>
                <a:gd name="T3" fmla="*/ 30 h 42"/>
                <a:gd name="T4" fmla="*/ 0 w 41"/>
                <a:gd name="T5" fmla="*/ 6 h 42"/>
                <a:gd name="T6" fmla="*/ 7 w 41"/>
                <a:gd name="T7" fmla="*/ 5 h 42"/>
                <a:gd name="T8" fmla="*/ 14 w 41"/>
                <a:gd name="T9" fmla="*/ 3 h 42"/>
                <a:gd name="T10" fmla="*/ 24 w 41"/>
                <a:gd name="T11" fmla="*/ 1 h 42"/>
                <a:gd name="T12" fmla="*/ 34 w 41"/>
                <a:gd name="T13" fmla="*/ 0 h 42"/>
                <a:gd name="T14" fmla="*/ 34 w 41"/>
                <a:gd name="T15" fmla="*/ 18 h 42"/>
                <a:gd name="T16" fmla="*/ 41 w 41"/>
                <a:gd name="T17" fmla="*/ 18 h 42"/>
                <a:gd name="T18" fmla="*/ 21 w 41"/>
                <a:gd name="T1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50" name="Freeform 511"/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7458075" y="1905000"/>
              <a:ext cx="42863" cy="60325"/>
            </a:xfrm>
            <a:custGeom>
              <a:avLst/>
              <a:gdLst>
                <a:gd name="T0" fmla="*/ 60 w 93"/>
                <a:gd name="T1" fmla="*/ 9 h 39"/>
                <a:gd name="T2" fmla="*/ 67 w 93"/>
                <a:gd name="T3" fmla="*/ 18 h 39"/>
                <a:gd name="T4" fmla="*/ 77 w 93"/>
                <a:gd name="T5" fmla="*/ 28 h 39"/>
                <a:gd name="T6" fmla="*/ 81 w 93"/>
                <a:gd name="T7" fmla="*/ 33 h 39"/>
                <a:gd name="T8" fmla="*/ 86 w 93"/>
                <a:gd name="T9" fmla="*/ 36 h 39"/>
                <a:gd name="T10" fmla="*/ 90 w 93"/>
                <a:gd name="T11" fmla="*/ 38 h 39"/>
                <a:gd name="T12" fmla="*/ 93 w 93"/>
                <a:gd name="T13" fmla="*/ 39 h 39"/>
                <a:gd name="T14" fmla="*/ 60 w 93"/>
                <a:gd name="T15" fmla="*/ 39 h 39"/>
                <a:gd name="T16" fmla="*/ 50 w 93"/>
                <a:gd name="T17" fmla="*/ 36 h 39"/>
                <a:gd name="T18" fmla="*/ 43 w 93"/>
                <a:gd name="T19" fmla="*/ 32 h 39"/>
                <a:gd name="T20" fmla="*/ 36 w 93"/>
                <a:gd name="T21" fmla="*/ 28 h 39"/>
                <a:gd name="T22" fmla="*/ 30 w 93"/>
                <a:gd name="T23" fmla="*/ 23 h 39"/>
                <a:gd name="T24" fmla="*/ 24 w 93"/>
                <a:gd name="T25" fmla="*/ 18 h 39"/>
                <a:gd name="T26" fmla="*/ 16 w 93"/>
                <a:gd name="T27" fmla="*/ 13 h 39"/>
                <a:gd name="T28" fmla="*/ 9 w 93"/>
                <a:gd name="T29" fmla="*/ 7 h 39"/>
                <a:gd name="T30" fmla="*/ 0 w 93"/>
                <a:gd name="T31" fmla="*/ 3 h 39"/>
                <a:gd name="T32" fmla="*/ 11 w 93"/>
                <a:gd name="T33" fmla="*/ 1 h 39"/>
                <a:gd name="T34" fmla="*/ 20 w 93"/>
                <a:gd name="T35" fmla="*/ 0 h 39"/>
                <a:gd name="T36" fmla="*/ 26 w 93"/>
                <a:gd name="T37" fmla="*/ 0 h 39"/>
                <a:gd name="T38" fmla="*/ 33 w 93"/>
                <a:gd name="T39" fmla="*/ 1 h 39"/>
                <a:gd name="T40" fmla="*/ 44 w 93"/>
                <a:gd name="T41" fmla="*/ 4 h 39"/>
                <a:gd name="T42" fmla="*/ 60 w 93"/>
                <a:gd name="T4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51" name="Freeform 512"/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7508875" y="1920875"/>
              <a:ext cx="19050" cy="58738"/>
            </a:xfrm>
            <a:custGeom>
              <a:avLst/>
              <a:gdLst>
                <a:gd name="T0" fmla="*/ 39 w 39"/>
                <a:gd name="T1" fmla="*/ 19 h 19"/>
                <a:gd name="T2" fmla="*/ 13 w 39"/>
                <a:gd name="T3" fmla="*/ 19 h 19"/>
                <a:gd name="T4" fmla="*/ 8 w 39"/>
                <a:gd name="T5" fmla="*/ 19 h 19"/>
                <a:gd name="T6" fmla="*/ 5 w 39"/>
                <a:gd name="T7" fmla="*/ 17 h 19"/>
                <a:gd name="T8" fmla="*/ 3 w 39"/>
                <a:gd name="T9" fmla="*/ 14 h 19"/>
                <a:gd name="T10" fmla="*/ 2 w 39"/>
                <a:gd name="T11" fmla="*/ 11 h 19"/>
                <a:gd name="T12" fmla="*/ 0 w 39"/>
                <a:gd name="T13" fmla="*/ 5 h 19"/>
                <a:gd name="T14" fmla="*/ 0 w 39"/>
                <a:gd name="T15" fmla="*/ 0 h 19"/>
                <a:gd name="T16" fmla="*/ 13 w 39"/>
                <a:gd name="T17" fmla="*/ 4 h 19"/>
                <a:gd name="T18" fmla="*/ 22 w 39"/>
                <a:gd name="T19" fmla="*/ 9 h 19"/>
                <a:gd name="T20" fmla="*/ 30 w 39"/>
                <a:gd name="T21" fmla="*/ 14 h 19"/>
                <a:gd name="T22" fmla="*/ 39 w 39"/>
                <a:gd name="T2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52" name="Freeform 513"/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7373938" y="2047875"/>
              <a:ext cx="14287" cy="57150"/>
            </a:xfrm>
            <a:custGeom>
              <a:avLst/>
              <a:gdLst>
                <a:gd name="T0" fmla="*/ 0 w 26"/>
                <a:gd name="T1" fmla="*/ 36 h 36"/>
                <a:gd name="T2" fmla="*/ 3 w 26"/>
                <a:gd name="T3" fmla="*/ 31 h 36"/>
                <a:gd name="T4" fmla="*/ 10 w 26"/>
                <a:gd name="T5" fmla="*/ 20 h 36"/>
                <a:gd name="T6" fmla="*/ 18 w 26"/>
                <a:gd name="T7" fmla="*/ 8 h 36"/>
                <a:gd name="T8" fmla="*/ 26 w 26"/>
                <a:gd name="T9" fmla="*/ 0 h 36"/>
                <a:gd name="T10" fmla="*/ 26 w 26"/>
                <a:gd name="T11" fmla="*/ 9 h 36"/>
                <a:gd name="T12" fmla="*/ 26 w 26"/>
                <a:gd name="T13" fmla="*/ 18 h 36"/>
                <a:gd name="T14" fmla="*/ 25 w 26"/>
                <a:gd name="T15" fmla="*/ 22 h 36"/>
                <a:gd name="T16" fmla="*/ 24 w 26"/>
                <a:gd name="T17" fmla="*/ 26 h 36"/>
                <a:gd name="T18" fmla="*/ 21 w 26"/>
                <a:gd name="T19" fmla="*/ 29 h 36"/>
                <a:gd name="T20" fmla="*/ 17 w 26"/>
                <a:gd name="T21" fmla="*/ 32 h 36"/>
                <a:gd name="T22" fmla="*/ 14 w 26"/>
                <a:gd name="T23" fmla="*/ 34 h 36"/>
                <a:gd name="T24" fmla="*/ 10 w 26"/>
                <a:gd name="T25" fmla="*/ 35 h 36"/>
                <a:gd name="T26" fmla="*/ 4 w 26"/>
                <a:gd name="T27" fmla="*/ 36 h 36"/>
                <a:gd name="T28" fmla="*/ 0 w 26"/>
                <a:gd name="T2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53" name="Freeform 514"/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7385050" y="2076450"/>
              <a:ext cx="3175" cy="60325"/>
            </a:xfrm>
            <a:custGeom>
              <a:avLst/>
              <a:gdLst>
                <a:gd name="T0" fmla="*/ 0 w 6"/>
                <a:gd name="T1" fmla="*/ 37 h 37"/>
                <a:gd name="T2" fmla="*/ 0 w 6"/>
                <a:gd name="T3" fmla="*/ 0 h 37"/>
                <a:gd name="T4" fmla="*/ 6 w 6"/>
                <a:gd name="T5" fmla="*/ 0 h 37"/>
                <a:gd name="T6" fmla="*/ 6 w 6"/>
                <a:gd name="T7" fmla="*/ 31 h 37"/>
                <a:gd name="T8" fmla="*/ 0 w 6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54" name="Freeform 515"/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7372350" y="2159000"/>
              <a:ext cx="9525" cy="55563"/>
            </a:xfrm>
            <a:custGeom>
              <a:avLst/>
              <a:gdLst>
                <a:gd name="T0" fmla="*/ 0 w 20"/>
                <a:gd name="T1" fmla="*/ 31 h 43"/>
                <a:gd name="T2" fmla="*/ 0 w 20"/>
                <a:gd name="T3" fmla="*/ 25 h 43"/>
                <a:gd name="T4" fmla="*/ 0 w 20"/>
                <a:gd name="T5" fmla="*/ 18 h 43"/>
                <a:gd name="T6" fmla="*/ 2 w 20"/>
                <a:gd name="T7" fmla="*/ 9 h 43"/>
                <a:gd name="T8" fmla="*/ 7 w 20"/>
                <a:gd name="T9" fmla="*/ 0 h 43"/>
                <a:gd name="T10" fmla="*/ 11 w 20"/>
                <a:gd name="T11" fmla="*/ 7 h 43"/>
                <a:gd name="T12" fmla="*/ 16 w 20"/>
                <a:gd name="T13" fmla="*/ 12 h 43"/>
                <a:gd name="T14" fmla="*/ 17 w 20"/>
                <a:gd name="T15" fmla="*/ 14 h 43"/>
                <a:gd name="T16" fmla="*/ 19 w 20"/>
                <a:gd name="T17" fmla="*/ 18 h 43"/>
                <a:gd name="T18" fmla="*/ 19 w 20"/>
                <a:gd name="T19" fmla="*/ 21 h 43"/>
                <a:gd name="T20" fmla="*/ 20 w 20"/>
                <a:gd name="T21" fmla="*/ 25 h 43"/>
                <a:gd name="T22" fmla="*/ 19 w 20"/>
                <a:gd name="T23" fmla="*/ 27 h 43"/>
                <a:gd name="T24" fmla="*/ 18 w 20"/>
                <a:gd name="T25" fmla="*/ 30 h 43"/>
                <a:gd name="T26" fmla="*/ 16 w 20"/>
                <a:gd name="T27" fmla="*/ 33 h 43"/>
                <a:gd name="T28" fmla="*/ 12 w 20"/>
                <a:gd name="T29" fmla="*/ 36 h 43"/>
                <a:gd name="T30" fmla="*/ 9 w 20"/>
                <a:gd name="T31" fmla="*/ 39 h 43"/>
                <a:gd name="T32" fmla="*/ 6 w 20"/>
                <a:gd name="T33" fmla="*/ 41 h 43"/>
                <a:gd name="T34" fmla="*/ 2 w 20"/>
                <a:gd name="T35" fmla="*/ 42 h 43"/>
                <a:gd name="T36" fmla="*/ 0 w 20"/>
                <a:gd name="T37" fmla="*/ 43 h 43"/>
                <a:gd name="T38" fmla="*/ 0 w 20"/>
                <a:gd name="T39" fmla="*/ 3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55" name="Freeform 516"/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7350125" y="2193925"/>
              <a:ext cx="0" cy="58738"/>
            </a:xfrm>
            <a:custGeom>
              <a:avLst/>
              <a:gdLst>
                <a:gd name="T0" fmla="*/ 30 h 30"/>
                <a:gd name="T1" fmla="*/ 25 h 30"/>
                <a:gd name="T2" fmla="*/ 18 h 30"/>
                <a:gd name="T3" fmla="*/ 9 h 30"/>
                <a:gd name="T4" fmla="*/ 0 h 3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56" name="Freeform 517"/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7350125" y="2193925"/>
              <a:ext cx="7938" cy="58738"/>
            </a:xfrm>
            <a:custGeom>
              <a:avLst/>
              <a:gdLst>
                <a:gd name="T0" fmla="*/ 0 w 20"/>
                <a:gd name="T1" fmla="*/ 0 h 24"/>
                <a:gd name="T2" fmla="*/ 20 w 20"/>
                <a:gd name="T3" fmla="*/ 0 h 24"/>
                <a:gd name="T4" fmla="*/ 0 w 20"/>
                <a:gd name="T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57" name="Freeform 518"/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7104063" y="1781175"/>
              <a:ext cx="17462" cy="60325"/>
            </a:xfrm>
            <a:custGeom>
              <a:avLst/>
              <a:gdLst>
                <a:gd name="T0" fmla="*/ 0 w 46"/>
                <a:gd name="T1" fmla="*/ 0 h 19"/>
                <a:gd name="T2" fmla="*/ 9 w 46"/>
                <a:gd name="T3" fmla="*/ 3 h 19"/>
                <a:gd name="T4" fmla="*/ 14 w 46"/>
                <a:gd name="T5" fmla="*/ 5 h 19"/>
                <a:gd name="T6" fmla="*/ 19 w 46"/>
                <a:gd name="T7" fmla="*/ 8 h 19"/>
                <a:gd name="T8" fmla="*/ 23 w 46"/>
                <a:gd name="T9" fmla="*/ 10 h 19"/>
                <a:gd name="T10" fmla="*/ 26 w 46"/>
                <a:gd name="T11" fmla="*/ 12 h 19"/>
                <a:gd name="T12" fmla="*/ 32 w 46"/>
                <a:gd name="T13" fmla="*/ 14 h 19"/>
                <a:gd name="T14" fmla="*/ 37 w 46"/>
                <a:gd name="T15" fmla="*/ 17 h 19"/>
                <a:gd name="T16" fmla="*/ 46 w 46"/>
                <a:gd name="T17" fmla="*/ 19 h 19"/>
                <a:gd name="T18" fmla="*/ 33 w 46"/>
                <a:gd name="T19" fmla="*/ 19 h 19"/>
                <a:gd name="T20" fmla="*/ 24 w 46"/>
                <a:gd name="T21" fmla="*/ 19 h 19"/>
                <a:gd name="T22" fmla="*/ 18 w 46"/>
                <a:gd name="T23" fmla="*/ 18 h 19"/>
                <a:gd name="T24" fmla="*/ 13 w 46"/>
                <a:gd name="T25" fmla="*/ 17 h 19"/>
                <a:gd name="T26" fmla="*/ 10 w 46"/>
                <a:gd name="T27" fmla="*/ 14 h 19"/>
                <a:gd name="T28" fmla="*/ 7 w 46"/>
                <a:gd name="T29" fmla="*/ 11 h 19"/>
                <a:gd name="T30" fmla="*/ 4 w 46"/>
                <a:gd name="T31" fmla="*/ 7 h 19"/>
                <a:gd name="T32" fmla="*/ 0 w 46"/>
                <a:gd name="T3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58" name="Freeform 519"/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4419600" y="1920875"/>
              <a:ext cx="47625" cy="58738"/>
            </a:xfrm>
            <a:custGeom>
              <a:avLst/>
              <a:gdLst>
                <a:gd name="T0" fmla="*/ 33 w 100"/>
                <a:gd name="T1" fmla="*/ 0 h 55"/>
                <a:gd name="T2" fmla="*/ 100 w 100"/>
                <a:gd name="T3" fmla="*/ 12 h 55"/>
                <a:gd name="T4" fmla="*/ 100 w 100"/>
                <a:gd name="T5" fmla="*/ 55 h 55"/>
                <a:gd name="T6" fmla="*/ 13 w 100"/>
                <a:gd name="T7" fmla="*/ 55 h 55"/>
                <a:gd name="T8" fmla="*/ 0 w 100"/>
                <a:gd name="T9" fmla="*/ 43 h 55"/>
                <a:gd name="T10" fmla="*/ 1 w 100"/>
                <a:gd name="T11" fmla="*/ 38 h 55"/>
                <a:gd name="T12" fmla="*/ 4 w 100"/>
                <a:gd name="T13" fmla="*/ 32 h 55"/>
                <a:gd name="T14" fmla="*/ 10 w 100"/>
                <a:gd name="T15" fmla="*/ 25 h 55"/>
                <a:gd name="T16" fmla="*/ 16 w 100"/>
                <a:gd name="T17" fmla="*/ 18 h 55"/>
                <a:gd name="T18" fmla="*/ 27 w 100"/>
                <a:gd name="T19" fmla="*/ 5 h 55"/>
                <a:gd name="T20" fmla="*/ 33 w 100"/>
                <a:gd name="T21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59" name="Freeform 520"/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4868863" y="1512888"/>
              <a:ext cx="42862" cy="58737"/>
            </a:xfrm>
            <a:custGeom>
              <a:avLst/>
              <a:gdLst>
                <a:gd name="T0" fmla="*/ 53 w 99"/>
                <a:gd name="T1" fmla="*/ 2 h 51"/>
                <a:gd name="T2" fmla="*/ 58 w 99"/>
                <a:gd name="T3" fmla="*/ 1 h 51"/>
                <a:gd name="T4" fmla="*/ 62 w 99"/>
                <a:gd name="T5" fmla="*/ 0 h 51"/>
                <a:gd name="T6" fmla="*/ 65 w 99"/>
                <a:gd name="T7" fmla="*/ 0 h 51"/>
                <a:gd name="T8" fmla="*/ 69 w 99"/>
                <a:gd name="T9" fmla="*/ 1 h 51"/>
                <a:gd name="T10" fmla="*/ 74 w 99"/>
                <a:gd name="T11" fmla="*/ 5 h 51"/>
                <a:gd name="T12" fmla="*/ 79 w 99"/>
                <a:gd name="T13" fmla="*/ 11 h 51"/>
                <a:gd name="T14" fmla="*/ 83 w 99"/>
                <a:gd name="T15" fmla="*/ 18 h 51"/>
                <a:gd name="T16" fmla="*/ 87 w 99"/>
                <a:gd name="T17" fmla="*/ 25 h 51"/>
                <a:gd name="T18" fmla="*/ 91 w 99"/>
                <a:gd name="T19" fmla="*/ 28 h 51"/>
                <a:gd name="T20" fmla="*/ 93 w 99"/>
                <a:gd name="T21" fmla="*/ 30 h 51"/>
                <a:gd name="T22" fmla="*/ 96 w 99"/>
                <a:gd name="T23" fmla="*/ 32 h 51"/>
                <a:gd name="T24" fmla="*/ 99 w 99"/>
                <a:gd name="T25" fmla="*/ 34 h 51"/>
                <a:gd name="T26" fmla="*/ 99 w 99"/>
                <a:gd name="T27" fmla="*/ 37 h 51"/>
                <a:gd name="T28" fmla="*/ 97 w 99"/>
                <a:gd name="T29" fmla="*/ 40 h 51"/>
                <a:gd name="T30" fmla="*/ 95 w 99"/>
                <a:gd name="T31" fmla="*/ 43 h 51"/>
                <a:gd name="T32" fmla="*/ 91 w 99"/>
                <a:gd name="T33" fmla="*/ 45 h 51"/>
                <a:gd name="T34" fmla="*/ 86 w 99"/>
                <a:gd name="T35" fmla="*/ 47 h 51"/>
                <a:gd name="T36" fmla="*/ 81 w 99"/>
                <a:gd name="T37" fmla="*/ 48 h 51"/>
                <a:gd name="T38" fmla="*/ 74 w 99"/>
                <a:gd name="T39" fmla="*/ 50 h 51"/>
                <a:gd name="T40" fmla="*/ 68 w 99"/>
                <a:gd name="T41" fmla="*/ 50 h 51"/>
                <a:gd name="T42" fmla="*/ 52 w 99"/>
                <a:gd name="T43" fmla="*/ 51 h 51"/>
                <a:gd name="T44" fmla="*/ 36 w 99"/>
                <a:gd name="T45" fmla="*/ 49 h 51"/>
                <a:gd name="T46" fmla="*/ 27 w 99"/>
                <a:gd name="T47" fmla="*/ 48 h 51"/>
                <a:gd name="T48" fmla="*/ 18 w 99"/>
                <a:gd name="T49" fmla="*/ 45 h 51"/>
                <a:gd name="T50" fmla="*/ 9 w 99"/>
                <a:gd name="T51" fmla="*/ 43 h 51"/>
                <a:gd name="T52" fmla="*/ 1 w 99"/>
                <a:gd name="T53" fmla="*/ 40 h 51"/>
                <a:gd name="T54" fmla="*/ 0 w 99"/>
                <a:gd name="T55" fmla="*/ 39 h 51"/>
                <a:gd name="T56" fmla="*/ 1 w 99"/>
                <a:gd name="T57" fmla="*/ 37 h 51"/>
                <a:gd name="T58" fmla="*/ 3 w 99"/>
                <a:gd name="T59" fmla="*/ 35 h 51"/>
                <a:gd name="T60" fmla="*/ 6 w 99"/>
                <a:gd name="T61" fmla="*/ 33 h 51"/>
                <a:gd name="T62" fmla="*/ 14 w 99"/>
                <a:gd name="T63" fmla="*/ 29 h 51"/>
                <a:gd name="T64" fmla="*/ 25 w 99"/>
                <a:gd name="T65" fmla="*/ 24 h 51"/>
                <a:gd name="T66" fmla="*/ 35 w 99"/>
                <a:gd name="T67" fmla="*/ 19 h 51"/>
                <a:gd name="T68" fmla="*/ 45 w 99"/>
                <a:gd name="T69" fmla="*/ 12 h 51"/>
                <a:gd name="T70" fmla="*/ 48 w 99"/>
                <a:gd name="T71" fmla="*/ 10 h 51"/>
                <a:gd name="T72" fmla="*/ 51 w 99"/>
                <a:gd name="T73" fmla="*/ 7 h 51"/>
                <a:gd name="T74" fmla="*/ 52 w 99"/>
                <a:gd name="T75" fmla="*/ 5 h 51"/>
                <a:gd name="T76" fmla="*/ 53 w 99"/>
                <a:gd name="T77" fmla="*/ 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60" name="Freeform 521"/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4903788" y="1325563"/>
              <a:ext cx="228600" cy="163512"/>
            </a:xfrm>
            <a:custGeom>
              <a:avLst/>
              <a:gdLst>
                <a:gd name="T0" fmla="*/ 315 w 525"/>
                <a:gd name="T1" fmla="*/ 27 h 311"/>
                <a:gd name="T2" fmla="*/ 342 w 525"/>
                <a:gd name="T3" fmla="*/ 21 h 311"/>
                <a:gd name="T4" fmla="*/ 385 w 525"/>
                <a:gd name="T5" fmla="*/ 20 h 311"/>
                <a:gd name="T6" fmla="*/ 408 w 525"/>
                <a:gd name="T7" fmla="*/ 17 h 311"/>
                <a:gd name="T8" fmla="*/ 427 w 525"/>
                <a:gd name="T9" fmla="*/ 7 h 311"/>
                <a:gd name="T10" fmla="*/ 514 w 525"/>
                <a:gd name="T11" fmla="*/ 6 h 311"/>
                <a:gd name="T12" fmla="*/ 525 w 525"/>
                <a:gd name="T13" fmla="*/ 19 h 311"/>
                <a:gd name="T14" fmla="*/ 468 w 525"/>
                <a:gd name="T15" fmla="*/ 47 h 311"/>
                <a:gd name="T16" fmla="*/ 392 w 525"/>
                <a:gd name="T17" fmla="*/ 73 h 311"/>
                <a:gd name="T18" fmla="*/ 356 w 525"/>
                <a:gd name="T19" fmla="*/ 80 h 311"/>
                <a:gd name="T20" fmla="*/ 321 w 525"/>
                <a:gd name="T21" fmla="*/ 83 h 311"/>
                <a:gd name="T22" fmla="*/ 279 w 525"/>
                <a:gd name="T23" fmla="*/ 101 h 311"/>
                <a:gd name="T24" fmla="*/ 244 w 525"/>
                <a:gd name="T25" fmla="*/ 121 h 311"/>
                <a:gd name="T26" fmla="*/ 218 w 525"/>
                <a:gd name="T27" fmla="*/ 129 h 311"/>
                <a:gd name="T28" fmla="*/ 187 w 525"/>
                <a:gd name="T29" fmla="*/ 123 h 311"/>
                <a:gd name="T30" fmla="*/ 178 w 525"/>
                <a:gd name="T31" fmla="*/ 137 h 311"/>
                <a:gd name="T32" fmla="*/ 175 w 525"/>
                <a:gd name="T33" fmla="*/ 145 h 311"/>
                <a:gd name="T34" fmla="*/ 185 w 525"/>
                <a:gd name="T35" fmla="*/ 148 h 311"/>
                <a:gd name="T36" fmla="*/ 184 w 525"/>
                <a:gd name="T37" fmla="*/ 157 h 311"/>
                <a:gd name="T38" fmla="*/ 176 w 525"/>
                <a:gd name="T39" fmla="*/ 167 h 311"/>
                <a:gd name="T40" fmla="*/ 180 w 525"/>
                <a:gd name="T41" fmla="*/ 179 h 311"/>
                <a:gd name="T42" fmla="*/ 162 w 525"/>
                <a:gd name="T43" fmla="*/ 194 h 311"/>
                <a:gd name="T44" fmla="*/ 144 w 525"/>
                <a:gd name="T45" fmla="*/ 204 h 311"/>
                <a:gd name="T46" fmla="*/ 141 w 525"/>
                <a:gd name="T47" fmla="*/ 213 h 311"/>
                <a:gd name="T48" fmla="*/ 144 w 525"/>
                <a:gd name="T49" fmla="*/ 228 h 311"/>
                <a:gd name="T50" fmla="*/ 163 w 525"/>
                <a:gd name="T51" fmla="*/ 247 h 311"/>
                <a:gd name="T52" fmla="*/ 191 w 525"/>
                <a:gd name="T53" fmla="*/ 267 h 311"/>
                <a:gd name="T54" fmla="*/ 256 w 525"/>
                <a:gd name="T55" fmla="*/ 300 h 311"/>
                <a:gd name="T56" fmla="*/ 243 w 525"/>
                <a:gd name="T57" fmla="*/ 311 h 311"/>
                <a:gd name="T58" fmla="*/ 189 w 525"/>
                <a:gd name="T59" fmla="*/ 309 h 311"/>
                <a:gd name="T60" fmla="*/ 145 w 525"/>
                <a:gd name="T61" fmla="*/ 308 h 311"/>
                <a:gd name="T62" fmla="*/ 129 w 525"/>
                <a:gd name="T63" fmla="*/ 304 h 311"/>
                <a:gd name="T64" fmla="*/ 123 w 525"/>
                <a:gd name="T65" fmla="*/ 298 h 311"/>
                <a:gd name="T66" fmla="*/ 120 w 525"/>
                <a:gd name="T67" fmla="*/ 282 h 311"/>
                <a:gd name="T68" fmla="*/ 116 w 525"/>
                <a:gd name="T69" fmla="*/ 278 h 311"/>
                <a:gd name="T70" fmla="*/ 95 w 525"/>
                <a:gd name="T71" fmla="*/ 277 h 311"/>
                <a:gd name="T72" fmla="*/ 80 w 525"/>
                <a:gd name="T73" fmla="*/ 296 h 311"/>
                <a:gd name="T74" fmla="*/ 44 w 525"/>
                <a:gd name="T75" fmla="*/ 282 h 311"/>
                <a:gd name="T76" fmla="*/ 0 w 525"/>
                <a:gd name="T77" fmla="*/ 246 h 311"/>
                <a:gd name="T78" fmla="*/ 18 w 525"/>
                <a:gd name="T79" fmla="*/ 239 h 311"/>
                <a:gd name="T80" fmla="*/ 34 w 525"/>
                <a:gd name="T81" fmla="*/ 222 h 311"/>
                <a:gd name="T82" fmla="*/ 28 w 525"/>
                <a:gd name="T83" fmla="*/ 213 h 311"/>
                <a:gd name="T84" fmla="*/ 34 w 525"/>
                <a:gd name="T85" fmla="*/ 200 h 311"/>
                <a:gd name="T86" fmla="*/ 40 w 525"/>
                <a:gd name="T87" fmla="*/ 188 h 311"/>
                <a:gd name="T88" fmla="*/ 34 w 525"/>
                <a:gd name="T89" fmla="*/ 179 h 311"/>
                <a:gd name="T90" fmla="*/ 134 w 525"/>
                <a:gd name="T91" fmla="*/ 179 h 311"/>
                <a:gd name="T92" fmla="*/ 131 w 525"/>
                <a:gd name="T93" fmla="*/ 177 h 311"/>
                <a:gd name="T94" fmla="*/ 90 w 525"/>
                <a:gd name="T95" fmla="*/ 166 h 311"/>
                <a:gd name="T96" fmla="*/ 54 w 525"/>
                <a:gd name="T97" fmla="*/ 148 h 311"/>
                <a:gd name="T98" fmla="*/ 84 w 525"/>
                <a:gd name="T99" fmla="*/ 134 h 311"/>
                <a:gd name="T100" fmla="*/ 120 w 525"/>
                <a:gd name="T101" fmla="*/ 111 h 311"/>
                <a:gd name="T102" fmla="*/ 111 w 525"/>
                <a:gd name="T103" fmla="*/ 103 h 311"/>
                <a:gd name="T104" fmla="*/ 100 w 525"/>
                <a:gd name="T105" fmla="*/ 80 h 311"/>
                <a:gd name="T106" fmla="*/ 127 w 525"/>
                <a:gd name="T107" fmla="*/ 76 h 311"/>
                <a:gd name="T108" fmla="*/ 184 w 525"/>
                <a:gd name="T109" fmla="*/ 58 h 311"/>
                <a:gd name="T110" fmla="*/ 254 w 525"/>
                <a:gd name="T111" fmla="*/ 35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61" name="Freeform 522"/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4695825" y="1636713"/>
              <a:ext cx="31750" cy="55562"/>
            </a:xfrm>
            <a:custGeom>
              <a:avLst/>
              <a:gdLst>
                <a:gd name="T0" fmla="*/ 46 w 79"/>
                <a:gd name="T1" fmla="*/ 0 h 38"/>
                <a:gd name="T2" fmla="*/ 54 w 79"/>
                <a:gd name="T3" fmla="*/ 1 h 38"/>
                <a:gd name="T4" fmla="*/ 62 w 79"/>
                <a:gd name="T5" fmla="*/ 3 h 38"/>
                <a:gd name="T6" fmla="*/ 68 w 79"/>
                <a:gd name="T7" fmla="*/ 7 h 38"/>
                <a:gd name="T8" fmla="*/ 72 w 79"/>
                <a:gd name="T9" fmla="*/ 12 h 38"/>
                <a:gd name="T10" fmla="*/ 75 w 79"/>
                <a:gd name="T11" fmla="*/ 17 h 38"/>
                <a:gd name="T12" fmla="*/ 77 w 79"/>
                <a:gd name="T13" fmla="*/ 22 h 38"/>
                <a:gd name="T14" fmla="*/ 79 w 79"/>
                <a:gd name="T15" fmla="*/ 27 h 38"/>
                <a:gd name="T16" fmla="*/ 79 w 79"/>
                <a:gd name="T17" fmla="*/ 32 h 38"/>
                <a:gd name="T18" fmla="*/ 77 w 79"/>
                <a:gd name="T19" fmla="*/ 34 h 38"/>
                <a:gd name="T20" fmla="*/ 75 w 79"/>
                <a:gd name="T21" fmla="*/ 35 h 38"/>
                <a:gd name="T22" fmla="*/ 72 w 79"/>
                <a:gd name="T23" fmla="*/ 36 h 38"/>
                <a:gd name="T24" fmla="*/ 68 w 79"/>
                <a:gd name="T25" fmla="*/ 37 h 38"/>
                <a:gd name="T26" fmla="*/ 57 w 79"/>
                <a:gd name="T27" fmla="*/ 38 h 38"/>
                <a:gd name="T28" fmla="*/ 46 w 79"/>
                <a:gd name="T29" fmla="*/ 38 h 38"/>
                <a:gd name="T30" fmla="*/ 38 w 79"/>
                <a:gd name="T31" fmla="*/ 37 h 38"/>
                <a:gd name="T32" fmla="*/ 30 w 79"/>
                <a:gd name="T33" fmla="*/ 36 h 38"/>
                <a:gd name="T34" fmla="*/ 21 w 79"/>
                <a:gd name="T35" fmla="*/ 35 h 38"/>
                <a:gd name="T36" fmla="*/ 15 w 79"/>
                <a:gd name="T37" fmla="*/ 32 h 38"/>
                <a:gd name="T38" fmla="*/ 8 w 79"/>
                <a:gd name="T39" fmla="*/ 29 h 38"/>
                <a:gd name="T40" fmla="*/ 4 w 79"/>
                <a:gd name="T41" fmla="*/ 25 h 38"/>
                <a:gd name="T42" fmla="*/ 2 w 79"/>
                <a:gd name="T43" fmla="*/ 22 h 38"/>
                <a:gd name="T44" fmla="*/ 1 w 79"/>
                <a:gd name="T45" fmla="*/ 20 h 38"/>
                <a:gd name="T46" fmla="*/ 0 w 79"/>
                <a:gd name="T47" fmla="*/ 17 h 38"/>
                <a:gd name="T48" fmla="*/ 0 w 79"/>
                <a:gd name="T49" fmla="*/ 13 h 38"/>
                <a:gd name="T50" fmla="*/ 1 w 79"/>
                <a:gd name="T51" fmla="*/ 11 h 38"/>
                <a:gd name="T52" fmla="*/ 4 w 79"/>
                <a:gd name="T53" fmla="*/ 9 h 38"/>
                <a:gd name="T54" fmla="*/ 10 w 79"/>
                <a:gd name="T55" fmla="*/ 6 h 38"/>
                <a:gd name="T56" fmla="*/ 17 w 79"/>
                <a:gd name="T57" fmla="*/ 4 h 38"/>
                <a:gd name="T58" fmla="*/ 32 w 79"/>
                <a:gd name="T59" fmla="*/ 1 h 38"/>
                <a:gd name="T60" fmla="*/ 46 w 79"/>
                <a:gd name="T6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62" name="Freeform 523"/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7000875" y="1933575"/>
              <a:ext cx="196850" cy="268288"/>
            </a:xfrm>
            <a:custGeom>
              <a:avLst/>
              <a:gdLst>
                <a:gd name="T0" fmla="*/ 26 w 459"/>
                <a:gd name="T1" fmla="*/ 45 h 511"/>
                <a:gd name="T2" fmla="*/ 12 w 459"/>
                <a:gd name="T3" fmla="*/ 25 h 511"/>
                <a:gd name="T4" fmla="*/ 0 w 459"/>
                <a:gd name="T5" fmla="*/ 0 h 511"/>
                <a:gd name="T6" fmla="*/ 22 w 459"/>
                <a:gd name="T7" fmla="*/ 7 h 511"/>
                <a:gd name="T8" fmla="*/ 33 w 459"/>
                <a:gd name="T9" fmla="*/ 6 h 511"/>
                <a:gd name="T10" fmla="*/ 95 w 459"/>
                <a:gd name="T11" fmla="*/ 67 h 511"/>
                <a:gd name="T12" fmla="*/ 146 w 459"/>
                <a:gd name="T13" fmla="*/ 123 h 511"/>
                <a:gd name="T14" fmla="*/ 216 w 459"/>
                <a:gd name="T15" fmla="*/ 198 h 511"/>
                <a:gd name="T16" fmla="*/ 258 w 459"/>
                <a:gd name="T17" fmla="*/ 237 h 511"/>
                <a:gd name="T18" fmla="*/ 303 w 459"/>
                <a:gd name="T19" fmla="*/ 266 h 511"/>
                <a:gd name="T20" fmla="*/ 372 w 459"/>
                <a:gd name="T21" fmla="*/ 311 h 511"/>
                <a:gd name="T22" fmla="*/ 398 w 459"/>
                <a:gd name="T23" fmla="*/ 336 h 511"/>
                <a:gd name="T24" fmla="*/ 365 w 459"/>
                <a:gd name="T25" fmla="*/ 320 h 511"/>
                <a:gd name="T26" fmla="*/ 324 w 459"/>
                <a:gd name="T27" fmla="*/ 296 h 511"/>
                <a:gd name="T28" fmla="*/ 314 w 459"/>
                <a:gd name="T29" fmla="*/ 298 h 511"/>
                <a:gd name="T30" fmla="*/ 313 w 459"/>
                <a:gd name="T31" fmla="*/ 311 h 511"/>
                <a:gd name="T32" fmla="*/ 317 w 459"/>
                <a:gd name="T33" fmla="*/ 337 h 511"/>
                <a:gd name="T34" fmla="*/ 326 w 459"/>
                <a:gd name="T35" fmla="*/ 358 h 511"/>
                <a:gd name="T36" fmla="*/ 348 w 459"/>
                <a:gd name="T37" fmla="*/ 387 h 511"/>
                <a:gd name="T38" fmla="*/ 394 w 459"/>
                <a:gd name="T39" fmla="*/ 421 h 511"/>
                <a:gd name="T40" fmla="*/ 440 w 459"/>
                <a:gd name="T41" fmla="*/ 458 h 511"/>
                <a:gd name="T42" fmla="*/ 448 w 459"/>
                <a:gd name="T43" fmla="*/ 476 h 511"/>
                <a:gd name="T44" fmla="*/ 428 w 459"/>
                <a:gd name="T45" fmla="*/ 469 h 511"/>
                <a:gd name="T46" fmla="*/ 392 w 459"/>
                <a:gd name="T47" fmla="*/ 462 h 511"/>
                <a:gd name="T48" fmla="*/ 393 w 459"/>
                <a:gd name="T49" fmla="*/ 494 h 511"/>
                <a:gd name="T50" fmla="*/ 398 w 459"/>
                <a:gd name="T51" fmla="*/ 511 h 511"/>
                <a:gd name="T52" fmla="*/ 388 w 459"/>
                <a:gd name="T53" fmla="*/ 492 h 511"/>
                <a:gd name="T54" fmla="*/ 363 w 459"/>
                <a:gd name="T55" fmla="*/ 466 h 511"/>
                <a:gd name="T56" fmla="*/ 343 w 459"/>
                <a:gd name="T57" fmla="*/ 445 h 511"/>
                <a:gd name="T58" fmla="*/ 339 w 459"/>
                <a:gd name="T59" fmla="*/ 431 h 511"/>
                <a:gd name="T60" fmla="*/ 328 w 459"/>
                <a:gd name="T61" fmla="*/ 411 h 511"/>
                <a:gd name="T62" fmla="*/ 310 w 459"/>
                <a:gd name="T63" fmla="*/ 384 h 511"/>
                <a:gd name="T64" fmla="*/ 298 w 459"/>
                <a:gd name="T65" fmla="*/ 367 h 511"/>
                <a:gd name="T66" fmla="*/ 280 w 459"/>
                <a:gd name="T67" fmla="*/ 358 h 511"/>
                <a:gd name="T68" fmla="*/ 264 w 459"/>
                <a:gd name="T69" fmla="*/ 343 h 511"/>
                <a:gd name="T70" fmla="*/ 249 w 459"/>
                <a:gd name="T71" fmla="*/ 314 h 511"/>
                <a:gd name="T72" fmla="*/ 245 w 459"/>
                <a:gd name="T73" fmla="*/ 293 h 511"/>
                <a:gd name="T74" fmla="*/ 234 w 459"/>
                <a:gd name="T75" fmla="*/ 281 h 511"/>
                <a:gd name="T76" fmla="*/ 194 w 459"/>
                <a:gd name="T77" fmla="*/ 244 h 511"/>
                <a:gd name="T78" fmla="*/ 171 w 459"/>
                <a:gd name="T79" fmla="*/ 220 h 511"/>
                <a:gd name="T80" fmla="*/ 163 w 459"/>
                <a:gd name="T81" fmla="*/ 203 h 511"/>
                <a:gd name="T82" fmla="*/ 154 w 459"/>
                <a:gd name="T83" fmla="*/ 187 h 511"/>
                <a:gd name="T84" fmla="*/ 115 w 459"/>
                <a:gd name="T85" fmla="*/ 155 h 511"/>
                <a:gd name="T86" fmla="*/ 70 w 459"/>
                <a:gd name="T87" fmla="*/ 130 h 511"/>
                <a:gd name="T88" fmla="*/ 47 w 459"/>
                <a:gd name="T89" fmla="*/ 110 h 511"/>
                <a:gd name="T90" fmla="*/ 38 w 459"/>
                <a:gd name="T91" fmla="*/ 93 h 511"/>
                <a:gd name="T92" fmla="*/ 34 w 459"/>
                <a:gd name="T93" fmla="*/ 7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grpSp>
          <p:nvGrpSpPr>
            <p:cNvPr id="363" name="Group 524"/>
            <p:cNvGrpSpPr>
              <a:grpSpLocks/>
            </p:cNvGrpSpPr>
            <p:nvPr>
              <p:custDataLst>
                <p:tags r:id="rId357"/>
              </p:custDataLst>
            </p:nvPr>
          </p:nvGrpSpPr>
          <p:grpSpPr bwMode="auto">
            <a:xfrm>
              <a:off x="5791200" y="1889125"/>
              <a:ext cx="671513" cy="384175"/>
              <a:chOff x="4115" y="1551"/>
              <a:chExt cx="504" cy="244"/>
            </a:xfrm>
          </p:grpSpPr>
          <p:sp>
            <p:nvSpPr>
              <p:cNvPr id="393" name="Freeform 525"/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13 w 240"/>
                  <a:gd name="T1" fmla="*/ 247 h 259"/>
                  <a:gd name="T2" fmla="*/ 79 w 240"/>
                  <a:gd name="T3" fmla="*/ 259 h 259"/>
                  <a:gd name="T4" fmla="*/ 120 w 240"/>
                  <a:gd name="T5" fmla="*/ 240 h 259"/>
                  <a:gd name="T6" fmla="*/ 133 w 240"/>
                  <a:gd name="T7" fmla="*/ 210 h 259"/>
                  <a:gd name="T8" fmla="*/ 192 w 240"/>
                  <a:gd name="T9" fmla="*/ 161 h 259"/>
                  <a:gd name="T10" fmla="*/ 212 w 240"/>
                  <a:gd name="T11" fmla="*/ 111 h 259"/>
                  <a:gd name="T12" fmla="*/ 240 w 240"/>
                  <a:gd name="T13" fmla="*/ 26 h 259"/>
                  <a:gd name="T14" fmla="*/ 212 w 240"/>
                  <a:gd name="T15" fmla="*/ 0 h 259"/>
                  <a:gd name="T16" fmla="*/ 206 w 240"/>
                  <a:gd name="T17" fmla="*/ 32 h 259"/>
                  <a:gd name="T18" fmla="*/ 199 w 240"/>
                  <a:gd name="T19" fmla="*/ 74 h 259"/>
                  <a:gd name="T20" fmla="*/ 166 w 240"/>
                  <a:gd name="T21" fmla="*/ 105 h 259"/>
                  <a:gd name="T22" fmla="*/ 133 w 240"/>
                  <a:gd name="T23" fmla="*/ 149 h 259"/>
                  <a:gd name="T24" fmla="*/ 113 w 240"/>
                  <a:gd name="T25" fmla="*/ 179 h 259"/>
                  <a:gd name="T26" fmla="*/ 93 w 240"/>
                  <a:gd name="T27" fmla="*/ 216 h 259"/>
                  <a:gd name="T28" fmla="*/ 20 w 240"/>
                  <a:gd name="T29" fmla="*/ 222 h 259"/>
                  <a:gd name="T30" fmla="*/ 0 w 240"/>
                  <a:gd name="T31" fmla="*/ 222 h 259"/>
                  <a:gd name="T32" fmla="*/ 13 w 240"/>
                  <a:gd name="T33" fmla="*/ 247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394" name="Freeform 526"/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33 w 259"/>
                  <a:gd name="T1" fmla="*/ 104 h 104"/>
                  <a:gd name="T2" fmla="*/ 26 w 259"/>
                  <a:gd name="T3" fmla="*/ 86 h 104"/>
                  <a:gd name="T4" fmla="*/ 52 w 259"/>
                  <a:gd name="T5" fmla="*/ 62 h 104"/>
                  <a:gd name="T6" fmla="*/ 72 w 259"/>
                  <a:gd name="T7" fmla="*/ 49 h 104"/>
                  <a:gd name="T8" fmla="*/ 126 w 259"/>
                  <a:gd name="T9" fmla="*/ 43 h 104"/>
                  <a:gd name="T10" fmla="*/ 172 w 259"/>
                  <a:gd name="T11" fmla="*/ 43 h 104"/>
                  <a:gd name="T12" fmla="*/ 246 w 259"/>
                  <a:gd name="T13" fmla="*/ 31 h 104"/>
                  <a:gd name="T14" fmla="*/ 259 w 259"/>
                  <a:gd name="T15" fmla="*/ 7 h 104"/>
                  <a:gd name="T16" fmla="*/ 246 w 259"/>
                  <a:gd name="T17" fmla="*/ 0 h 104"/>
                  <a:gd name="T18" fmla="*/ 205 w 259"/>
                  <a:gd name="T19" fmla="*/ 13 h 104"/>
                  <a:gd name="T20" fmla="*/ 152 w 259"/>
                  <a:gd name="T21" fmla="*/ 7 h 104"/>
                  <a:gd name="T22" fmla="*/ 106 w 259"/>
                  <a:gd name="T23" fmla="*/ 13 h 104"/>
                  <a:gd name="T24" fmla="*/ 52 w 259"/>
                  <a:gd name="T25" fmla="*/ 19 h 104"/>
                  <a:gd name="T26" fmla="*/ 26 w 259"/>
                  <a:gd name="T27" fmla="*/ 43 h 104"/>
                  <a:gd name="T28" fmla="*/ 0 w 259"/>
                  <a:gd name="T29" fmla="*/ 68 h 104"/>
                  <a:gd name="T30" fmla="*/ 0 w 259"/>
                  <a:gd name="T31" fmla="*/ 104 h 104"/>
                  <a:gd name="T32" fmla="*/ 33 w 259"/>
                  <a:gd name="T3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</p:grpSp>
        <p:sp>
          <p:nvSpPr>
            <p:cNvPr id="364" name="Freeform 527"/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4848225" y="2638425"/>
              <a:ext cx="530225" cy="511175"/>
            </a:xfrm>
            <a:custGeom>
              <a:avLst/>
              <a:gdLst>
                <a:gd name="T0" fmla="*/ 932 w 1227"/>
                <a:gd name="T1" fmla="*/ 466 h 979"/>
                <a:gd name="T2" fmla="*/ 932 w 1227"/>
                <a:gd name="T3" fmla="*/ 442 h 979"/>
                <a:gd name="T4" fmla="*/ 930 w 1227"/>
                <a:gd name="T5" fmla="*/ 412 h 979"/>
                <a:gd name="T6" fmla="*/ 908 w 1227"/>
                <a:gd name="T7" fmla="*/ 385 h 979"/>
                <a:gd name="T8" fmla="*/ 899 w 1227"/>
                <a:gd name="T9" fmla="*/ 367 h 979"/>
                <a:gd name="T10" fmla="*/ 817 w 1227"/>
                <a:gd name="T11" fmla="*/ 312 h 979"/>
                <a:gd name="T12" fmla="*/ 759 w 1227"/>
                <a:gd name="T13" fmla="*/ 263 h 979"/>
                <a:gd name="T14" fmla="*/ 752 w 1227"/>
                <a:gd name="T15" fmla="*/ 229 h 979"/>
                <a:gd name="T16" fmla="*/ 726 w 1227"/>
                <a:gd name="T17" fmla="*/ 218 h 979"/>
                <a:gd name="T18" fmla="*/ 695 w 1227"/>
                <a:gd name="T19" fmla="*/ 207 h 979"/>
                <a:gd name="T20" fmla="*/ 638 w 1227"/>
                <a:gd name="T21" fmla="*/ 196 h 979"/>
                <a:gd name="T22" fmla="*/ 596 w 1227"/>
                <a:gd name="T23" fmla="*/ 201 h 979"/>
                <a:gd name="T24" fmla="*/ 570 w 1227"/>
                <a:gd name="T25" fmla="*/ 204 h 979"/>
                <a:gd name="T26" fmla="*/ 530 w 1227"/>
                <a:gd name="T27" fmla="*/ 195 h 979"/>
                <a:gd name="T28" fmla="*/ 505 w 1227"/>
                <a:gd name="T29" fmla="*/ 179 h 979"/>
                <a:gd name="T30" fmla="*/ 483 w 1227"/>
                <a:gd name="T31" fmla="*/ 128 h 979"/>
                <a:gd name="T32" fmla="*/ 465 w 1227"/>
                <a:gd name="T33" fmla="*/ 103 h 979"/>
                <a:gd name="T34" fmla="*/ 432 w 1227"/>
                <a:gd name="T35" fmla="*/ 81 h 979"/>
                <a:gd name="T36" fmla="*/ 365 w 1227"/>
                <a:gd name="T37" fmla="*/ 61 h 979"/>
                <a:gd name="T38" fmla="*/ 303 w 1227"/>
                <a:gd name="T39" fmla="*/ 32 h 979"/>
                <a:gd name="T40" fmla="*/ 214 w 1227"/>
                <a:gd name="T41" fmla="*/ 10 h 979"/>
                <a:gd name="T42" fmla="*/ 166 w 1227"/>
                <a:gd name="T43" fmla="*/ 38 h 979"/>
                <a:gd name="T44" fmla="*/ 151 w 1227"/>
                <a:gd name="T45" fmla="*/ 61 h 979"/>
                <a:gd name="T46" fmla="*/ 153 w 1227"/>
                <a:gd name="T47" fmla="*/ 90 h 979"/>
                <a:gd name="T48" fmla="*/ 169 w 1227"/>
                <a:gd name="T49" fmla="*/ 118 h 979"/>
                <a:gd name="T50" fmla="*/ 151 w 1227"/>
                <a:gd name="T51" fmla="*/ 150 h 979"/>
                <a:gd name="T52" fmla="*/ 95 w 1227"/>
                <a:gd name="T53" fmla="*/ 186 h 979"/>
                <a:gd name="T54" fmla="*/ 54 w 1227"/>
                <a:gd name="T55" fmla="*/ 190 h 979"/>
                <a:gd name="T56" fmla="*/ 9 w 1227"/>
                <a:gd name="T57" fmla="*/ 183 h 979"/>
                <a:gd name="T58" fmla="*/ 0 w 1227"/>
                <a:gd name="T59" fmla="*/ 236 h 979"/>
                <a:gd name="T60" fmla="*/ 9 w 1227"/>
                <a:gd name="T61" fmla="*/ 269 h 979"/>
                <a:gd name="T62" fmla="*/ 25 w 1227"/>
                <a:gd name="T63" fmla="*/ 282 h 979"/>
                <a:gd name="T64" fmla="*/ 40 w 1227"/>
                <a:gd name="T65" fmla="*/ 307 h 979"/>
                <a:gd name="T66" fmla="*/ 83 w 1227"/>
                <a:gd name="T67" fmla="*/ 364 h 979"/>
                <a:gd name="T68" fmla="*/ 102 w 1227"/>
                <a:gd name="T69" fmla="*/ 414 h 979"/>
                <a:gd name="T70" fmla="*/ 121 w 1227"/>
                <a:gd name="T71" fmla="*/ 427 h 979"/>
                <a:gd name="T72" fmla="*/ 133 w 1227"/>
                <a:gd name="T73" fmla="*/ 438 h 979"/>
                <a:gd name="T74" fmla="*/ 148 w 1227"/>
                <a:gd name="T75" fmla="*/ 469 h 979"/>
                <a:gd name="T76" fmla="*/ 224 w 1227"/>
                <a:gd name="T77" fmla="*/ 546 h 979"/>
                <a:gd name="T78" fmla="*/ 249 w 1227"/>
                <a:gd name="T79" fmla="*/ 585 h 979"/>
                <a:gd name="T80" fmla="*/ 256 w 1227"/>
                <a:gd name="T81" fmla="*/ 624 h 979"/>
                <a:gd name="T82" fmla="*/ 266 w 1227"/>
                <a:gd name="T83" fmla="*/ 659 h 979"/>
                <a:gd name="T84" fmla="*/ 299 w 1227"/>
                <a:gd name="T85" fmla="*/ 701 h 979"/>
                <a:gd name="T86" fmla="*/ 361 w 1227"/>
                <a:gd name="T87" fmla="*/ 761 h 979"/>
                <a:gd name="T88" fmla="*/ 388 w 1227"/>
                <a:gd name="T89" fmla="*/ 814 h 979"/>
                <a:gd name="T90" fmla="*/ 425 w 1227"/>
                <a:gd name="T91" fmla="*/ 867 h 979"/>
                <a:gd name="T92" fmla="*/ 483 w 1227"/>
                <a:gd name="T93" fmla="*/ 938 h 979"/>
                <a:gd name="T94" fmla="*/ 528 w 1227"/>
                <a:gd name="T95" fmla="*/ 979 h 979"/>
                <a:gd name="T96" fmla="*/ 543 w 1227"/>
                <a:gd name="T97" fmla="*/ 953 h 979"/>
                <a:gd name="T98" fmla="*/ 546 w 1227"/>
                <a:gd name="T99" fmla="*/ 909 h 979"/>
                <a:gd name="T100" fmla="*/ 570 w 1227"/>
                <a:gd name="T101" fmla="*/ 896 h 979"/>
                <a:gd name="T102" fmla="*/ 605 w 1227"/>
                <a:gd name="T103" fmla="*/ 895 h 979"/>
                <a:gd name="T104" fmla="*/ 660 w 1227"/>
                <a:gd name="T105" fmla="*/ 909 h 979"/>
                <a:gd name="T106" fmla="*/ 708 w 1227"/>
                <a:gd name="T107" fmla="*/ 943 h 979"/>
                <a:gd name="T108" fmla="*/ 787 w 1227"/>
                <a:gd name="T109" fmla="*/ 838 h 979"/>
                <a:gd name="T110" fmla="*/ 1199 w 1227"/>
                <a:gd name="T111" fmla="*/ 567 h 979"/>
                <a:gd name="T112" fmla="*/ 940 w 1227"/>
                <a:gd name="T113" fmla="*/ 468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65" name="Freeform 528"/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4322763" y="2182813"/>
              <a:ext cx="57150" cy="57150"/>
            </a:xfrm>
            <a:custGeom>
              <a:avLst/>
              <a:gdLst>
                <a:gd name="T0" fmla="*/ 146 w 146"/>
                <a:gd name="T1" fmla="*/ 18 h 81"/>
                <a:gd name="T2" fmla="*/ 138 w 146"/>
                <a:gd name="T3" fmla="*/ 24 h 81"/>
                <a:gd name="T4" fmla="*/ 130 w 146"/>
                <a:gd name="T5" fmla="*/ 29 h 81"/>
                <a:gd name="T6" fmla="*/ 123 w 146"/>
                <a:gd name="T7" fmla="*/ 35 h 81"/>
                <a:gd name="T8" fmla="*/ 118 w 146"/>
                <a:gd name="T9" fmla="*/ 41 h 81"/>
                <a:gd name="T10" fmla="*/ 108 w 146"/>
                <a:gd name="T11" fmla="*/ 53 h 81"/>
                <a:gd name="T12" fmla="*/ 98 w 146"/>
                <a:gd name="T13" fmla="*/ 64 h 81"/>
                <a:gd name="T14" fmla="*/ 93 w 146"/>
                <a:gd name="T15" fmla="*/ 69 h 81"/>
                <a:gd name="T16" fmla="*/ 85 w 146"/>
                <a:gd name="T17" fmla="*/ 73 h 81"/>
                <a:gd name="T18" fmla="*/ 76 w 146"/>
                <a:gd name="T19" fmla="*/ 77 h 81"/>
                <a:gd name="T20" fmla="*/ 66 w 146"/>
                <a:gd name="T21" fmla="*/ 80 h 81"/>
                <a:gd name="T22" fmla="*/ 53 w 146"/>
                <a:gd name="T23" fmla="*/ 81 h 81"/>
                <a:gd name="T24" fmla="*/ 39 w 146"/>
                <a:gd name="T25" fmla="*/ 80 h 81"/>
                <a:gd name="T26" fmla="*/ 21 w 146"/>
                <a:gd name="T27" fmla="*/ 77 h 81"/>
                <a:gd name="T28" fmla="*/ 0 w 146"/>
                <a:gd name="T29" fmla="*/ 74 h 81"/>
                <a:gd name="T30" fmla="*/ 0 w 146"/>
                <a:gd name="T31" fmla="*/ 62 h 81"/>
                <a:gd name="T32" fmla="*/ 0 w 146"/>
                <a:gd name="T33" fmla="*/ 49 h 81"/>
                <a:gd name="T34" fmla="*/ 0 w 146"/>
                <a:gd name="T35" fmla="*/ 34 h 81"/>
                <a:gd name="T36" fmla="*/ 0 w 146"/>
                <a:gd name="T37" fmla="*/ 18 h 81"/>
                <a:gd name="T38" fmla="*/ 14 w 146"/>
                <a:gd name="T39" fmla="*/ 18 h 81"/>
                <a:gd name="T40" fmla="*/ 22 w 146"/>
                <a:gd name="T41" fmla="*/ 18 h 81"/>
                <a:gd name="T42" fmla="*/ 31 w 146"/>
                <a:gd name="T43" fmla="*/ 18 h 81"/>
                <a:gd name="T44" fmla="*/ 40 w 146"/>
                <a:gd name="T45" fmla="*/ 18 h 81"/>
                <a:gd name="T46" fmla="*/ 52 w 146"/>
                <a:gd name="T47" fmla="*/ 18 h 81"/>
                <a:gd name="T48" fmla="*/ 63 w 146"/>
                <a:gd name="T49" fmla="*/ 16 h 81"/>
                <a:gd name="T50" fmla="*/ 73 w 146"/>
                <a:gd name="T51" fmla="*/ 14 h 81"/>
                <a:gd name="T52" fmla="*/ 83 w 146"/>
                <a:gd name="T53" fmla="*/ 11 h 81"/>
                <a:gd name="T54" fmla="*/ 101 w 146"/>
                <a:gd name="T55" fmla="*/ 5 h 81"/>
                <a:gd name="T56" fmla="*/ 120 w 146"/>
                <a:gd name="T57" fmla="*/ 0 h 81"/>
                <a:gd name="T58" fmla="*/ 129 w 146"/>
                <a:gd name="T59" fmla="*/ 4 h 81"/>
                <a:gd name="T60" fmla="*/ 135 w 146"/>
                <a:gd name="T61" fmla="*/ 9 h 81"/>
                <a:gd name="T62" fmla="*/ 141 w 146"/>
                <a:gd name="T63" fmla="*/ 14 h 81"/>
                <a:gd name="T64" fmla="*/ 146 w 146"/>
                <a:gd name="T65" fmla="*/ 18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66" name="Freeform 529"/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4062413" y="2395538"/>
              <a:ext cx="15875" cy="57150"/>
            </a:xfrm>
            <a:custGeom>
              <a:avLst/>
              <a:gdLst>
                <a:gd name="T0" fmla="*/ 34 w 34"/>
                <a:gd name="T1" fmla="*/ 49 h 49"/>
                <a:gd name="T2" fmla="*/ 34 w 34"/>
                <a:gd name="T3" fmla="*/ 34 h 49"/>
                <a:gd name="T4" fmla="*/ 34 w 34"/>
                <a:gd name="T5" fmla="*/ 25 h 49"/>
                <a:gd name="T6" fmla="*/ 33 w 34"/>
                <a:gd name="T7" fmla="*/ 21 h 49"/>
                <a:gd name="T8" fmla="*/ 33 w 34"/>
                <a:gd name="T9" fmla="*/ 17 h 49"/>
                <a:gd name="T10" fmla="*/ 31 w 34"/>
                <a:gd name="T11" fmla="*/ 15 h 49"/>
                <a:gd name="T12" fmla="*/ 30 w 34"/>
                <a:gd name="T13" fmla="*/ 12 h 49"/>
                <a:gd name="T14" fmla="*/ 25 w 34"/>
                <a:gd name="T15" fmla="*/ 8 h 49"/>
                <a:gd name="T16" fmla="*/ 21 w 34"/>
                <a:gd name="T17" fmla="*/ 0 h 49"/>
                <a:gd name="T18" fmla="*/ 8 w 34"/>
                <a:gd name="T19" fmla="*/ 0 h 49"/>
                <a:gd name="T20" fmla="*/ 0 w 34"/>
                <a:gd name="T21" fmla="*/ 0 h 49"/>
                <a:gd name="T22" fmla="*/ 3 w 34"/>
                <a:gd name="T23" fmla="*/ 11 h 49"/>
                <a:gd name="T24" fmla="*/ 7 w 34"/>
                <a:gd name="T25" fmla="*/ 20 h 49"/>
                <a:gd name="T26" fmla="*/ 10 w 34"/>
                <a:gd name="T27" fmla="*/ 27 h 49"/>
                <a:gd name="T28" fmla="*/ 14 w 34"/>
                <a:gd name="T29" fmla="*/ 34 h 49"/>
                <a:gd name="T30" fmla="*/ 19 w 34"/>
                <a:gd name="T31" fmla="*/ 39 h 49"/>
                <a:gd name="T32" fmla="*/ 24 w 34"/>
                <a:gd name="T33" fmla="*/ 43 h 49"/>
                <a:gd name="T34" fmla="*/ 29 w 34"/>
                <a:gd name="T35" fmla="*/ 46 h 49"/>
                <a:gd name="T36" fmla="*/ 34 w 34"/>
                <a:gd name="T37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67" name="Freeform 530"/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3654425" y="2741613"/>
              <a:ext cx="28575" cy="57150"/>
            </a:xfrm>
            <a:custGeom>
              <a:avLst/>
              <a:gdLst>
                <a:gd name="T0" fmla="*/ 60 w 60"/>
                <a:gd name="T1" fmla="*/ 0 h 74"/>
                <a:gd name="T2" fmla="*/ 56 w 60"/>
                <a:gd name="T3" fmla="*/ 4 h 74"/>
                <a:gd name="T4" fmla="*/ 51 w 60"/>
                <a:gd name="T5" fmla="*/ 10 h 74"/>
                <a:gd name="T6" fmla="*/ 48 w 60"/>
                <a:gd name="T7" fmla="*/ 15 h 74"/>
                <a:gd name="T8" fmla="*/ 46 w 60"/>
                <a:gd name="T9" fmla="*/ 21 h 74"/>
                <a:gd name="T10" fmla="*/ 41 w 60"/>
                <a:gd name="T11" fmla="*/ 31 h 74"/>
                <a:gd name="T12" fmla="*/ 37 w 60"/>
                <a:gd name="T13" fmla="*/ 42 h 74"/>
                <a:gd name="T14" fmla="*/ 35 w 60"/>
                <a:gd name="T15" fmla="*/ 47 h 74"/>
                <a:gd name="T16" fmla="*/ 32 w 60"/>
                <a:gd name="T17" fmla="*/ 51 h 74"/>
                <a:gd name="T18" fmla="*/ 29 w 60"/>
                <a:gd name="T19" fmla="*/ 56 h 74"/>
                <a:gd name="T20" fmla="*/ 25 w 60"/>
                <a:gd name="T21" fmla="*/ 60 h 74"/>
                <a:gd name="T22" fmla="*/ 20 w 60"/>
                <a:gd name="T23" fmla="*/ 65 h 74"/>
                <a:gd name="T24" fmla="*/ 15 w 60"/>
                <a:gd name="T25" fmla="*/ 69 h 74"/>
                <a:gd name="T26" fmla="*/ 8 w 60"/>
                <a:gd name="T27" fmla="*/ 72 h 74"/>
                <a:gd name="T28" fmla="*/ 0 w 60"/>
                <a:gd name="T29" fmla="*/ 74 h 74"/>
                <a:gd name="T30" fmla="*/ 5 w 60"/>
                <a:gd name="T31" fmla="*/ 60 h 74"/>
                <a:gd name="T32" fmla="*/ 12 w 60"/>
                <a:gd name="T33" fmla="*/ 47 h 74"/>
                <a:gd name="T34" fmla="*/ 19 w 60"/>
                <a:gd name="T35" fmla="*/ 34 h 74"/>
                <a:gd name="T36" fmla="*/ 27 w 60"/>
                <a:gd name="T37" fmla="*/ 23 h 74"/>
                <a:gd name="T38" fmla="*/ 36 w 60"/>
                <a:gd name="T39" fmla="*/ 14 h 74"/>
                <a:gd name="T40" fmla="*/ 43 w 60"/>
                <a:gd name="T41" fmla="*/ 6 h 74"/>
                <a:gd name="T42" fmla="*/ 48 w 60"/>
                <a:gd name="T43" fmla="*/ 3 h 74"/>
                <a:gd name="T44" fmla="*/ 52 w 60"/>
                <a:gd name="T45" fmla="*/ 1 h 74"/>
                <a:gd name="T46" fmla="*/ 56 w 60"/>
                <a:gd name="T47" fmla="*/ 0 h 74"/>
                <a:gd name="T48" fmla="*/ 60 w 60"/>
                <a:gd name="T4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68" name="Freeform 531"/>
            <p:cNvSpPr>
              <a:spLocks/>
            </p:cNvSpPr>
            <p:nvPr>
              <p:custDataLst>
                <p:tags r:id="rId362"/>
              </p:custDataLst>
            </p:nvPr>
          </p:nvSpPr>
          <p:spPr bwMode="auto">
            <a:xfrm>
              <a:off x="3595688" y="2757488"/>
              <a:ext cx="23812" cy="60325"/>
            </a:xfrm>
            <a:custGeom>
              <a:avLst/>
              <a:gdLst>
                <a:gd name="T0" fmla="*/ 13 w 47"/>
                <a:gd name="T1" fmla="*/ 8 h 45"/>
                <a:gd name="T2" fmla="*/ 22 w 47"/>
                <a:gd name="T3" fmla="*/ 8 h 45"/>
                <a:gd name="T4" fmla="*/ 28 w 47"/>
                <a:gd name="T5" fmla="*/ 6 h 45"/>
                <a:gd name="T6" fmla="*/ 32 w 47"/>
                <a:gd name="T7" fmla="*/ 5 h 45"/>
                <a:gd name="T8" fmla="*/ 35 w 47"/>
                <a:gd name="T9" fmla="*/ 3 h 45"/>
                <a:gd name="T10" fmla="*/ 37 w 47"/>
                <a:gd name="T11" fmla="*/ 1 h 45"/>
                <a:gd name="T12" fmla="*/ 39 w 47"/>
                <a:gd name="T13" fmla="*/ 0 h 45"/>
                <a:gd name="T14" fmla="*/ 43 w 47"/>
                <a:gd name="T15" fmla="*/ 1 h 45"/>
                <a:gd name="T16" fmla="*/ 47 w 47"/>
                <a:gd name="T17" fmla="*/ 2 h 45"/>
                <a:gd name="T18" fmla="*/ 46 w 47"/>
                <a:gd name="T19" fmla="*/ 7 h 45"/>
                <a:gd name="T20" fmla="*/ 46 w 47"/>
                <a:gd name="T21" fmla="*/ 11 h 45"/>
                <a:gd name="T22" fmla="*/ 44 w 47"/>
                <a:gd name="T23" fmla="*/ 15 h 45"/>
                <a:gd name="T24" fmla="*/ 43 w 47"/>
                <a:gd name="T25" fmla="*/ 19 h 45"/>
                <a:gd name="T26" fmla="*/ 37 w 47"/>
                <a:gd name="T27" fmla="*/ 26 h 45"/>
                <a:gd name="T28" fmla="*/ 30 w 47"/>
                <a:gd name="T29" fmla="*/ 32 h 45"/>
                <a:gd name="T30" fmla="*/ 24 w 47"/>
                <a:gd name="T31" fmla="*/ 38 h 45"/>
                <a:gd name="T32" fmla="*/ 16 w 47"/>
                <a:gd name="T33" fmla="*/ 42 h 45"/>
                <a:gd name="T34" fmla="*/ 7 w 47"/>
                <a:gd name="T35" fmla="*/ 45 h 45"/>
                <a:gd name="T36" fmla="*/ 0 w 47"/>
                <a:gd name="T37" fmla="*/ 45 h 45"/>
                <a:gd name="T38" fmla="*/ 2 w 47"/>
                <a:gd name="T39" fmla="*/ 38 h 45"/>
                <a:gd name="T40" fmla="*/ 6 w 47"/>
                <a:gd name="T41" fmla="*/ 26 h 45"/>
                <a:gd name="T42" fmla="*/ 11 w 47"/>
                <a:gd name="T43" fmla="*/ 15 h 45"/>
                <a:gd name="T44" fmla="*/ 13 w 47"/>
                <a:gd name="T45" fmla="*/ 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69" name="Freeform 532"/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3570288" y="2751138"/>
              <a:ext cx="6350" cy="57150"/>
            </a:xfrm>
            <a:custGeom>
              <a:avLst/>
              <a:gdLst>
                <a:gd name="T0" fmla="*/ 6 w 26"/>
                <a:gd name="T1" fmla="*/ 36 h 36"/>
                <a:gd name="T2" fmla="*/ 5 w 26"/>
                <a:gd name="T3" fmla="*/ 30 h 36"/>
                <a:gd name="T4" fmla="*/ 3 w 26"/>
                <a:gd name="T5" fmla="*/ 20 h 36"/>
                <a:gd name="T6" fmla="*/ 1 w 26"/>
                <a:gd name="T7" fmla="*/ 10 h 36"/>
                <a:gd name="T8" fmla="*/ 0 w 26"/>
                <a:gd name="T9" fmla="*/ 0 h 36"/>
                <a:gd name="T10" fmla="*/ 26 w 26"/>
                <a:gd name="T11" fmla="*/ 0 h 36"/>
                <a:gd name="T12" fmla="*/ 25 w 26"/>
                <a:gd name="T13" fmla="*/ 12 h 36"/>
                <a:gd name="T14" fmla="*/ 24 w 26"/>
                <a:gd name="T15" fmla="*/ 23 h 36"/>
                <a:gd name="T16" fmla="*/ 23 w 26"/>
                <a:gd name="T17" fmla="*/ 27 h 36"/>
                <a:gd name="T18" fmla="*/ 23 w 26"/>
                <a:gd name="T19" fmla="*/ 31 h 36"/>
                <a:gd name="T20" fmla="*/ 24 w 26"/>
                <a:gd name="T21" fmla="*/ 34 h 36"/>
                <a:gd name="T22" fmla="*/ 26 w 26"/>
                <a:gd name="T23" fmla="*/ 36 h 36"/>
                <a:gd name="T24" fmla="*/ 6 w 26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70" name="Freeform 533"/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4841875" y="2479675"/>
              <a:ext cx="174625" cy="158750"/>
            </a:xfrm>
            <a:custGeom>
              <a:avLst/>
              <a:gdLst>
                <a:gd name="T0" fmla="*/ 26 w 405"/>
                <a:gd name="T1" fmla="*/ 162 h 302"/>
                <a:gd name="T2" fmla="*/ 28 w 405"/>
                <a:gd name="T3" fmla="*/ 156 h 302"/>
                <a:gd name="T4" fmla="*/ 30 w 405"/>
                <a:gd name="T5" fmla="*/ 154 h 302"/>
                <a:gd name="T6" fmla="*/ 28 w 405"/>
                <a:gd name="T7" fmla="*/ 151 h 302"/>
                <a:gd name="T8" fmla="*/ 18 w 405"/>
                <a:gd name="T9" fmla="*/ 143 h 302"/>
                <a:gd name="T10" fmla="*/ 6 w 405"/>
                <a:gd name="T11" fmla="*/ 127 h 302"/>
                <a:gd name="T12" fmla="*/ 2 w 405"/>
                <a:gd name="T13" fmla="*/ 116 h 302"/>
                <a:gd name="T14" fmla="*/ 5 w 405"/>
                <a:gd name="T15" fmla="*/ 112 h 302"/>
                <a:gd name="T16" fmla="*/ 6 w 405"/>
                <a:gd name="T17" fmla="*/ 104 h 302"/>
                <a:gd name="T18" fmla="*/ 17 w 405"/>
                <a:gd name="T19" fmla="*/ 97 h 302"/>
                <a:gd name="T20" fmla="*/ 34 w 405"/>
                <a:gd name="T21" fmla="*/ 93 h 302"/>
                <a:gd name="T22" fmla="*/ 47 w 405"/>
                <a:gd name="T23" fmla="*/ 88 h 302"/>
                <a:gd name="T24" fmla="*/ 57 w 405"/>
                <a:gd name="T25" fmla="*/ 82 h 302"/>
                <a:gd name="T26" fmla="*/ 67 w 405"/>
                <a:gd name="T27" fmla="*/ 70 h 302"/>
                <a:gd name="T28" fmla="*/ 75 w 405"/>
                <a:gd name="T29" fmla="*/ 52 h 302"/>
                <a:gd name="T30" fmla="*/ 84 w 405"/>
                <a:gd name="T31" fmla="*/ 47 h 302"/>
                <a:gd name="T32" fmla="*/ 95 w 405"/>
                <a:gd name="T33" fmla="*/ 52 h 302"/>
                <a:gd name="T34" fmla="*/ 117 w 405"/>
                <a:gd name="T35" fmla="*/ 54 h 302"/>
                <a:gd name="T36" fmla="*/ 169 w 405"/>
                <a:gd name="T37" fmla="*/ 46 h 302"/>
                <a:gd name="T38" fmla="*/ 212 w 405"/>
                <a:gd name="T39" fmla="*/ 43 h 302"/>
                <a:gd name="T40" fmla="*/ 234 w 405"/>
                <a:gd name="T41" fmla="*/ 41 h 302"/>
                <a:gd name="T42" fmla="*/ 264 w 405"/>
                <a:gd name="T43" fmla="*/ 35 h 302"/>
                <a:gd name="T44" fmla="*/ 318 w 405"/>
                <a:gd name="T45" fmla="*/ 17 h 302"/>
                <a:gd name="T46" fmla="*/ 359 w 405"/>
                <a:gd name="T47" fmla="*/ 4 h 302"/>
                <a:gd name="T48" fmla="*/ 372 w 405"/>
                <a:gd name="T49" fmla="*/ 3 h 302"/>
                <a:gd name="T50" fmla="*/ 385 w 405"/>
                <a:gd name="T51" fmla="*/ 3 h 302"/>
                <a:gd name="T52" fmla="*/ 398 w 405"/>
                <a:gd name="T53" fmla="*/ 1 h 302"/>
                <a:gd name="T54" fmla="*/ 395 w 405"/>
                <a:gd name="T55" fmla="*/ 8 h 302"/>
                <a:gd name="T56" fmla="*/ 360 w 405"/>
                <a:gd name="T57" fmla="*/ 41 h 302"/>
                <a:gd name="T58" fmla="*/ 344 w 405"/>
                <a:gd name="T59" fmla="*/ 57 h 302"/>
                <a:gd name="T60" fmla="*/ 339 w 405"/>
                <a:gd name="T61" fmla="*/ 64 h 302"/>
                <a:gd name="T62" fmla="*/ 339 w 405"/>
                <a:gd name="T63" fmla="*/ 96 h 302"/>
                <a:gd name="T64" fmla="*/ 337 w 405"/>
                <a:gd name="T65" fmla="*/ 149 h 302"/>
                <a:gd name="T66" fmla="*/ 335 w 405"/>
                <a:gd name="T67" fmla="*/ 180 h 302"/>
                <a:gd name="T68" fmla="*/ 326 w 405"/>
                <a:gd name="T69" fmla="*/ 198 h 302"/>
                <a:gd name="T70" fmla="*/ 305 w 405"/>
                <a:gd name="T71" fmla="*/ 210 h 302"/>
                <a:gd name="T72" fmla="*/ 265 w 405"/>
                <a:gd name="T73" fmla="*/ 227 h 302"/>
                <a:gd name="T74" fmla="*/ 106 w 405"/>
                <a:gd name="T75" fmla="*/ 302 h 302"/>
                <a:gd name="T76" fmla="*/ 57 w 405"/>
                <a:gd name="T77" fmla="*/ 260 h 302"/>
                <a:gd name="T78" fmla="*/ 70 w 405"/>
                <a:gd name="T79" fmla="*/ 228 h 302"/>
                <a:gd name="T80" fmla="*/ 81 w 405"/>
                <a:gd name="T81" fmla="*/ 209 h 302"/>
                <a:gd name="T82" fmla="*/ 86 w 405"/>
                <a:gd name="T83" fmla="*/ 172 h 302"/>
                <a:gd name="T84" fmla="*/ 71 w 405"/>
                <a:gd name="T85" fmla="*/ 173 h 302"/>
                <a:gd name="T86" fmla="*/ 57 w 405"/>
                <a:gd name="T87" fmla="*/ 169 h 302"/>
                <a:gd name="T88" fmla="*/ 41 w 405"/>
                <a:gd name="T89" fmla="*/ 165 h 302"/>
                <a:gd name="T90" fmla="*/ 26 w 405"/>
                <a:gd name="T91" fmla="*/ 166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71" name="Freeform 534"/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6935788" y="2860675"/>
              <a:ext cx="42862" cy="79375"/>
            </a:xfrm>
            <a:custGeom>
              <a:avLst/>
              <a:gdLst>
                <a:gd name="T0" fmla="*/ 100 w 100"/>
                <a:gd name="T1" fmla="*/ 1 h 155"/>
                <a:gd name="T2" fmla="*/ 100 w 100"/>
                <a:gd name="T3" fmla="*/ 30 h 155"/>
                <a:gd name="T4" fmla="*/ 100 w 100"/>
                <a:gd name="T5" fmla="*/ 55 h 155"/>
                <a:gd name="T6" fmla="*/ 100 w 100"/>
                <a:gd name="T7" fmla="*/ 78 h 155"/>
                <a:gd name="T8" fmla="*/ 100 w 100"/>
                <a:gd name="T9" fmla="*/ 99 h 155"/>
                <a:gd name="T10" fmla="*/ 98 w 100"/>
                <a:gd name="T11" fmla="*/ 109 h 155"/>
                <a:gd name="T12" fmla="*/ 94 w 100"/>
                <a:gd name="T13" fmla="*/ 118 h 155"/>
                <a:gd name="T14" fmla="*/ 89 w 100"/>
                <a:gd name="T15" fmla="*/ 128 h 155"/>
                <a:gd name="T16" fmla="*/ 82 w 100"/>
                <a:gd name="T17" fmla="*/ 137 h 155"/>
                <a:gd name="T18" fmla="*/ 73 w 100"/>
                <a:gd name="T19" fmla="*/ 144 h 155"/>
                <a:gd name="T20" fmla="*/ 62 w 100"/>
                <a:gd name="T21" fmla="*/ 150 h 155"/>
                <a:gd name="T22" fmla="*/ 57 w 100"/>
                <a:gd name="T23" fmla="*/ 152 h 155"/>
                <a:gd name="T24" fmla="*/ 51 w 100"/>
                <a:gd name="T25" fmla="*/ 154 h 155"/>
                <a:gd name="T26" fmla="*/ 46 w 100"/>
                <a:gd name="T27" fmla="*/ 155 h 155"/>
                <a:gd name="T28" fmla="*/ 39 w 100"/>
                <a:gd name="T29" fmla="*/ 155 h 155"/>
                <a:gd name="T30" fmla="*/ 35 w 100"/>
                <a:gd name="T31" fmla="*/ 154 h 155"/>
                <a:gd name="T32" fmla="*/ 30 w 100"/>
                <a:gd name="T33" fmla="*/ 153 h 155"/>
                <a:gd name="T34" fmla="*/ 26 w 100"/>
                <a:gd name="T35" fmla="*/ 151 h 155"/>
                <a:gd name="T36" fmla="*/ 22 w 100"/>
                <a:gd name="T37" fmla="*/ 149 h 155"/>
                <a:gd name="T38" fmla="*/ 15 w 100"/>
                <a:gd name="T39" fmla="*/ 142 h 155"/>
                <a:gd name="T40" fmla="*/ 9 w 100"/>
                <a:gd name="T41" fmla="*/ 134 h 155"/>
                <a:gd name="T42" fmla="*/ 5 w 100"/>
                <a:gd name="T43" fmla="*/ 124 h 155"/>
                <a:gd name="T44" fmla="*/ 2 w 100"/>
                <a:gd name="T45" fmla="*/ 113 h 155"/>
                <a:gd name="T46" fmla="*/ 0 w 100"/>
                <a:gd name="T47" fmla="*/ 103 h 155"/>
                <a:gd name="T48" fmla="*/ 0 w 100"/>
                <a:gd name="T49" fmla="*/ 93 h 155"/>
                <a:gd name="T50" fmla="*/ 0 w 100"/>
                <a:gd name="T51" fmla="*/ 77 h 155"/>
                <a:gd name="T52" fmla="*/ 0 w 100"/>
                <a:gd name="T53" fmla="*/ 65 h 155"/>
                <a:gd name="T54" fmla="*/ 0 w 100"/>
                <a:gd name="T55" fmla="*/ 56 h 155"/>
                <a:gd name="T56" fmla="*/ 0 w 100"/>
                <a:gd name="T57" fmla="*/ 50 h 155"/>
                <a:gd name="T58" fmla="*/ 15 w 100"/>
                <a:gd name="T59" fmla="*/ 50 h 155"/>
                <a:gd name="T60" fmla="*/ 26 w 100"/>
                <a:gd name="T61" fmla="*/ 50 h 155"/>
                <a:gd name="T62" fmla="*/ 26 w 100"/>
                <a:gd name="T63" fmla="*/ 40 h 155"/>
                <a:gd name="T64" fmla="*/ 27 w 100"/>
                <a:gd name="T65" fmla="*/ 31 h 155"/>
                <a:gd name="T66" fmla="*/ 29 w 100"/>
                <a:gd name="T67" fmla="*/ 23 h 155"/>
                <a:gd name="T68" fmla="*/ 31 w 100"/>
                <a:gd name="T69" fmla="*/ 17 h 155"/>
                <a:gd name="T70" fmla="*/ 35 w 100"/>
                <a:gd name="T71" fmla="*/ 12 h 155"/>
                <a:gd name="T72" fmla="*/ 39 w 100"/>
                <a:gd name="T73" fmla="*/ 7 h 155"/>
                <a:gd name="T74" fmla="*/ 42 w 100"/>
                <a:gd name="T75" fmla="*/ 4 h 155"/>
                <a:gd name="T76" fmla="*/ 48 w 100"/>
                <a:gd name="T77" fmla="*/ 2 h 155"/>
                <a:gd name="T78" fmla="*/ 59 w 100"/>
                <a:gd name="T79" fmla="*/ 0 h 155"/>
                <a:gd name="T80" fmla="*/ 71 w 100"/>
                <a:gd name="T81" fmla="*/ 0 h 155"/>
                <a:gd name="T82" fmla="*/ 84 w 100"/>
                <a:gd name="T83" fmla="*/ 0 h 155"/>
                <a:gd name="T84" fmla="*/ 100 w 100"/>
                <a:gd name="T85" fmla="*/ 1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grpSp>
          <p:nvGrpSpPr>
            <p:cNvPr id="372" name="Group 535"/>
            <p:cNvGrpSpPr>
              <a:grpSpLocks/>
            </p:cNvGrpSpPr>
            <p:nvPr>
              <p:custDataLst>
                <p:tags r:id="rId366"/>
              </p:custDataLst>
            </p:nvPr>
          </p:nvGrpSpPr>
          <p:grpSpPr bwMode="auto">
            <a:xfrm>
              <a:off x="4583113" y="2328863"/>
              <a:ext cx="482600" cy="201612"/>
              <a:chOff x="3289" y="1830"/>
              <a:chExt cx="363" cy="128"/>
            </a:xfrm>
            <a:solidFill>
              <a:schemeClr val="accent2"/>
            </a:solidFill>
          </p:grpSpPr>
          <p:sp>
            <p:nvSpPr>
              <p:cNvPr id="388" name="Freeform 536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13 w 13"/>
                  <a:gd name="T1" fmla="*/ 0 h 7"/>
                  <a:gd name="T2" fmla="*/ 12 w 13"/>
                  <a:gd name="T3" fmla="*/ 1 h 7"/>
                  <a:gd name="T4" fmla="*/ 9 w 13"/>
                  <a:gd name="T5" fmla="*/ 3 h 7"/>
                  <a:gd name="T6" fmla="*/ 4 w 13"/>
                  <a:gd name="T7" fmla="*/ 5 h 7"/>
                  <a:gd name="T8" fmla="*/ 0 w 13"/>
                  <a:gd name="T9" fmla="*/ 7 h 7"/>
                  <a:gd name="T10" fmla="*/ 7 w 13"/>
                  <a:gd name="T11" fmla="*/ 3 h 7"/>
                  <a:gd name="T12" fmla="*/ 13 w 13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389" name="Freeform 537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6 h 8"/>
                  <a:gd name="T2" fmla="*/ 7 w 34"/>
                  <a:gd name="T3" fmla="*/ 5 h 8"/>
                  <a:gd name="T4" fmla="*/ 15 w 34"/>
                  <a:gd name="T5" fmla="*/ 3 h 8"/>
                  <a:gd name="T6" fmla="*/ 25 w 34"/>
                  <a:gd name="T7" fmla="*/ 1 h 8"/>
                  <a:gd name="T8" fmla="*/ 34 w 34"/>
                  <a:gd name="T9" fmla="*/ 0 h 8"/>
                  <a:gd name="T10" fmla="*/ 31 w 34"/>
                  <a:gd name="T11" fmla="*/ 2 h 8"/>
                  <a:gd name="T12" fmla="*/ 27 w 34"/>
                  <a:gd name="T13" fmla="*/ 4 h 8"/>
                  <a:gd name="T14" fmla="*/ 22 w 34"/>
                  <a:gd name="T15" fmla="*/ 6 h 8"/>
                  <a:gd name="T16" fmla="*/ 18 w 34"/>
                  <a:gd name="T17" fmla="*/ 7 h 8"/>
                  <a:gd name="T18" fmla="*/ 12 w 34"/>
                  <a:gd name="T19" fmla="*/ 8 h 8"/>
                  <a:gd name="T20" fmla="*/ 8 w 34"/>
                  <a:gd name="T21" fmla="*/ 8 h 8"/>
                  <a:gd name="T22" fmla="*/ 4 w 34"/>
                  <a:gd name="T23" fmla="*/ 8 h 8"/>
                  <a:gd name="T24" fmla="*/ 0 w 34"/>
                  <a:gd name="T25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390" name="Freeform 538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24 h 24"/>
                  <a:gd name="T2" fmla="*/ 0 w 13"/>
                  <a:gd name="T3" fmla="*/ 0 h 24"/>
                  <a:gd name="T4" fmla="*/ 13 w 13"/>
                  <a:gd name="T5" fmla="*/ 12 h 24"/>
                  <a:gd name="T6" fmla="*/ 0 w 13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391" name="Freeform 539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13 h 69"/>
                  <a:gd name="T2" fmla="*/ 0 w 107"/>
                  <a:gd name="T3" fmla="*/ 27 h 69"/>
                  <a:gd name="T4" fmla="*/ 0 w 107"/>
                  <a:gd name="T5" fmla="*/ 45 h 69"/>
                  <a:gd name="T6" fmla="*/ 0 w 107"/>
                  <a:gd name="T7" fmla="*/ 62 h 69"/>
                  <a:gd name="T8" fmla="*/ 0 w 107"/>
                  <a:gd name="T9" fmla="*/ 69 h 69"/>
                  <a:gd name="T10" fmla="*/ 16 w 107"/>
                  <a:gd name="T11" fmla="*/ 66 h 69"/>
                  <a:gd name="T12" fmla="*/ 49 w 107"/>
                  <a:gd name="T13" fmla="*/ 58 h 69"/>
                  <a:gd name="T14" fmla="*/ 85 w 107"/>
                  <a:gd name="T15" fmla="*/ 50 h 69"/>
                  <a:gd name="T16" fmla="*/ 107 w 107"/>
                  <a:gd name="T17" fmla="*/ 44 h 69"/>
                  <a:gd name="T18" fmla="*/ 101 w 107"/>
                  <a:gd name="T19" fmla="*/ 38 h 69"/>
                  <a:gd name="T20" fmla="*/ 94 w 107"/>
                  <a:gd name="T21" fmla="*/ 34 h 69"/>
                  <a:gd name="T22" fmla="*/ 86 w 107"/>
                  <a:gd name="T23" fmla="*/ 30 h 69"/>
                  <a:gd name="T24" fmla="*/ 78 w 107"/>
                  <a:gd name="T25" fmla="*/ 27 h 69"/>
                  <a:gd name="T26" fmla="*/ 72 w 107"/>
                  <a:gd name="T27" fmla="*/ 23 h 69"/>
                  <a:gd name="T28" fmla="*/ 65 w 107"/>
                  <a:gd name="T29" fmla="*/ 18 h 69"/>
                  <a:gd name="T30" fmla="*/ 63 w 107"/>
                  <a:gd name="T31" fmla="*/ 15 h 69"/>
                  <a:gd name="T32" fmla="*/ 62 w 107"/>
                  <a:gd name="T33" fmla="*/ 11 h 69"/>
                  <a:gd name="T34" fmla="*/ 61 w 107"/>
                  <a:gd name="T35" fmla="*/ 7 h 69"/>
                  <a:gd name="T36" fmla="*/ 61 w 107"/>
                  <a:gd name="T37" fmla="*/ 0 h 69"/>
                  <a:gd name="T38" fmla="*/ 54 w 107"/>
                  <a:gd name="T39" fmla="*/ 1 h 69"/>
                  <a:gd name="T40" fmla="*/ 38 w 107"/>
                  <a:gd name="T41" fmla="*/ 4 h 69"/>
                  <a:gd name="T42" fmla="*/ 18 w 107"/>
                  <a:gd name="T43" fmla="*/ 9 h 69"/>
                  <a:gd name="T44" fmla="*/ 0 w 107"/>
                  <a:gd name="T45" fmla="*/ 13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392" name="Freeform 540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992 w 1070"/>
                  <a:gd name="T1" fmla="*/ 124 h 382"/>
                  <a:gd name="T2" fmla="*/ 970 w 1070"/>
                  <a:gd name="T3" fmla="*/ 103 h 382"/>
                  <a:gd name="T4" fmla="*/ 962 w 1070"/>
                  <a:gd name="T5" fmla="*/ 57 h 382"/>
                  <a:gd name="T6" fmla="*/ 936 w 1070"/>
                  <a:gd name="T7" fmla="*/ 36 h 382"/>
                  <a:gd name="T8" fmla="*/ 817 w 1070"/>
                  <a:gd name="T9" fmla="*/ 19 h 382"/>
                  <a:gd name="T10" fmla="*/ 726 w 1070"/>
                  <a:gd name="T11" fmla="*/ 58 h 382"/>
                  <a:gd name="T12" fmla="*/ 678 w 1070"/>
                  <a:gd name="T13" fmla="*/ 65 h 382"/>
                  <a:gd name="T14" fmla="*/ 632 w 1070"/>
                  <a:gd name="T15" fmla="*/ 65 h 382"/>
                  <a:gd name="T16" fmla="*/ 612 w 1070"/>
                  <a:gd name="T17" fmla="*/ 44 h 382"/>
                  <a:gd name="T18" fmla="*/ 560 w 1070"/>
                  <a:gd name="T19" fmla="*/ 37 h 382"/>
                  <a:gd name="T20" fmla="*/ 525 w 1070"/>
                  <a:gd name="T21" fmla="*/ 19 h 382"/>
                  <a:gd name="T22" fmla="*/ 483 w 1070"/>
                  <a:gd name="T23" fmla="*/ 21 h 382"/>
                  <a:gd name="T24" fmla="*/ 465 w 1070"/>
                  <a:gd name="T25" fmla="*/ 0 h 382"/>
                  <a:gd name="T26" fmla="*/ 390 w 1070"/>
                  <a:gd name="T27" fmla="*/ 16 h 382"/>
                  <a:gd name="T28" fmla="*/ 299 w 1070"/>
                  <a:gd name="T29" fmla="*/ 26 h 382"/>
                  <a:gd name="T30" fmla="*/ 257 w 1070"/>
                  <a:gd name="T31" fmla="*/ 45 h 382"/>
                  <a:gd name="T32" fmla="*/ 138 w 1070"/>
                  <a:gd name="T33" fmla="*/ 61 h 382"/>
                  <a:gd name="T34" fmla="*/ 173 w 1070"/>
                  <a:gd name="T35" fmla="*/ 75 h 382"/>
                  <a:gd name="T36" fmla="*/ 164 w 1070"/>
                  <a:gd name="T37" fmla="*/ 90 h 382"/>
                  <a:gd name="T38" fmla="*/ 114 w 1070"/>
                  <a:gd name="T39" fmla="*/ 93 h 382"/>
                  <a:gd name="T40" fmla="*/ 42 w 1070"/>
                  <a:gd name="T41" fmla="*/ 94 h 382"/>
                  <a:gd name="T42" fmla="*/ 8 w 1070"/>
                  <a:gd name="T43" fmla="*/ 110 h 382"/>
                  <a:gd name="T44" fmla="*/ 0 w 1070"/>
                  <a:gd name="T45" fmla="*/ 147 h 382"/>
                  <a:gd name="T46" fmla="*/ 16 w 1070"/>
                  <a:gd name="T47" fmla="*/ 167 h 382"/>
                  <a:gd name="T48" fmla="*/ 22 w 1070"/>
                  <a:gd name="T49" fmla="*/ 193 h 382"/>
                  <a:gd name="T50" fmla="*/ 21 w 1070"/>
                  <a:gd name="T51" fmla="*/ 210 h 382"/>
                  <a:gd name="T52" fmla="*/ 49 w 1070"/>
                  <a:gd name="T53" fmla="*/ 237 h 382"/>
                  <a:gd name="T54" fmla="*/ 56 w 1070"/>
                  <a:gd name="T55" fmla="*/ 259 h 382"/>
                  <a:gd name="T56" fmla="*/ 74 w 1070"/>
                  <a:gd name="T57" fmla="*/ 271 h 382"/>
                  <a:gd name="T58" fmla="*/ 96 w 1070"/>
                  <a:gd name="T59" fmla="*/ 290 h 382"/>
                  <a:gd name="T60" fmla="*/ 205 w 1070"/>
                  <a:gd name="T61" fmla="*/ 352 h 382"/>
                  <a:gd name="T62" fmla="*/ 253 w 1070"/>
                  <a:gd name="T63" fmla="*/ 370 h 382"/>
                  <a:gd name="T64" fmla="*/ 267 w 1070"/>
                  <a:gd name="T65" fmla="*/ 358 h 382"/>
                  <a:gd name="T66" fmla="*/ 277 w 1070"/>
                  <a:gd name="T67" fmla="*/ 338 h 382"/>
                  <a:gd name="T68" fmla="*/ 297 w 1070"/>
                  <a:gd name="T69" fmla="*/ 316 h 382"/>
                  <a:gd name="T70" fmla="*/ 334 w 1070"/>
                  <a:gd name="T71" fmla="*/ 323 h 382"/>
                  <a:gd name="T72" fmla="*/ 362 w 1070"/>
                  <a:gd name="T73" fmla="*/ 358 h 382"/>
                  <a:gd name="T74" fmla="*/ 399 w 1070"/>
                  <a:gd name="T75" fmla="*/ 370 h 382"/>
                  <a:gd name="T76" fmla="*/ 447 w 1070"/>
                  <a:gd name="T77" fmla="*/ 359 h 382"/>
                  <a:gd name="T78" fmla="*/ 493 w 1070"/>
                  <a:gd name="T79" fmla="*/ 335 h 382"/>
                  <a:gd name="T80" fmla="*/ 525 w 1070"/>
                  <a:gd name="T81" fmla="*/ 327 h 382"/>
                  <a:gd name="T82" fmla="*/ 564 w 1070"/>
                  <a:gd name="T83" fmla="*/ 326 h 382"/>
                  <a:gd name="T84" fmla="*/ 567 w 1070"/>
                  <a:gd name="T85" fmla="*/ 367 h 382"/>
                  <a:gd name="T86" fmla="*/ 590 w 1070"/>
                  <a:gd name="T87" fmla="*/ 377 h 382"/>
                  <a:gd name="T88" fmla="*/ 613 w 1070"/>
                  <a:gd name="T89" fmla="*/ 362 h 382"/>
                  <a:gd name="T90" fmla="*/ 647 w 1070"/>
                  <a:gd name="T91" fmla="*/ 336 h 382"/>
                  <a:gd name="T92" fmla="*/ 752 w 1070"/>
                  <a:gd name="T93" fmla="*/ 327 h 382"/>
                  <a:gd name="T94" fmla="*/ 831 w 1070"/>
                  <a:gd name="T95" fmla="*/ 315 h 382"/>
                  <a:gd name="T96" fmla="*/ 918 w 1070"/>
                  <a:gd name="T97" fmla="*/ 283 h 382"/>
                  <a:gd name="T98" fmla="*/ 967 w 1070"/>
                  <a:gd name="T99" fmla="*/ 286 h 382"/>
                  <a:gd name="T100" fmla="*/ 1005 w 1070"/>
                  <a:gd name="T101" fmla="*/ 293 h 382"/>
                  <a:gd name="T102" fmla="*/ 1056 w 1070"/>
                  <a:gd name="T103" fmla="*/ 308 h 382"/>
                  <a:gd name="T104" fmla="*/ 1056 w 1070"/>
                  <a:gd name="T105" fmla="*/ 268 h 382"/>
                  <a:gd name="T106" fmla="*/ 1026 w 1070"/>
                  <a:gd name="T107" fmla="*/ 219 h 382"/>
                  <a:gd name="T108" fmla="*/ 1017 w 1070"/>
                  <a:gd name="T109" fmla="*/ 167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 dirty="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</p:grpSp>
        <p:sp>
          <p:nvSpPr>
            <p:cNvPr id="373" name="Freeform 541"/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2571750" y="3481388"/>
              <a:ext cx="100013" cy="122237"/>
            </a:xfrm>
            <a:custGeom>
              <a:avLst/>
              <a:gdLst>
                <a:gd name="T0" fmla="*/ 63 w 226"/>
                <a:gd name="T1" fmla="*/ 236 h 237"/>
                <a:gd name="T2" fmla="*/ 68 w 226"/>
                <a:gd name="T3" fmla="*/ 237 h 237"/>
                <a:gd name="T4" fmla="*/ 75 w 226"/>
                <a:gd name="T5" fmla="*/ 235 h 237"/>
                <a:gd name="T6" fmla="*/ 83 w 226"/>
                <a:gd name="T7" fmla="*/ 234 h 237"/>
                <a:gd name="T8" fmla="*/ 89 w 226"/>
                <a:gd name="T9" fmla="*/ 230 h 237"/>
                <a:gd name="T10" fmla="*/ 96 w 226"/>
                <a:gd name="T11" fmla="*/ 223 h 237"/>
                <a:gd name="T12" fmla="*/ 99 w 226"/>
                <a:gd name="T13" fmla="*/ 214 h 237"/>
                <a:gd name="T14" fmla="*/ 123 w 226"/>
                <a:gd name="T15" fmla="*/ 209 h 237"/>
                <a:gd name="T16" fmla="*/ 166 w 226"/>
                <a:gd name="T17" fmla="*/ 205 h 237"/>
                <a:gd name="T18" fmla="*/ 195 w 226"/>
                <a:gd name="T19" fmla="*/ 198 h 237"/>
                <a:gd name="T20" fmla="*/ 209 w 226"/>
                <a:gd name="T21" fmla="*/ 191 h 237"/>
                <a:gd name="T22" fmla="*/ 220 w 226"/>
                <a:gd name="T23" fmla="*/ 181 h 237"/>
                <a:gd name="T24" fmla="*/ 225 w 226"/>
                <a:gd name="T25" fmla="*/ 168 h 237"/>
                <a:gd name="T26" fmla="*/ 226 w 226"/>
                <a:gd name="T27" fmla="*/ 153 h 237"/>
                <a:gd name="T28" fmla="*/ 223 w 226"/>
                <a:gd name="T29" fmla="*/ 140 h 237"/>
                <a:gd name="T30" fmla="*/ 215 w 226"/>
                <a:gd name="T31" fmla="*/ 123 h 237"/>
                <a:gd name="T32" fmla="*/ 203 w 226"/>
                <a:gd name="T33" fmla="*/ 100 h 237"/>
                <a:gd name="T34" fmla="*/ 196 w 226"/>
                <a:gd name="T35" fmla="*/ 84 h 237"/>
                <a:gd name="T36" fmla="*/ 193 w 226"/>
                <a:gd name="T37" fmla="*/ 74 h 237"/>
                <a:gd name="T38" fmla="*/ 195 w 226"/>
                <a:gd name="T39" fmla="*/ 59 h 237"/>
                <a:gd name="T40" fmla="*/ 200 w 226"/>
                <a:gd name="T41" fmla="*/ 43 h 237"/>
                <a:gd name="T42" fmla="*/ 213 w 226"/>
                <a:gd name="T43" fmla="*/ 25 h 237"/>
                <a:gd name="T44" fmla="*/ 213 w 226"/>
                <a:gd name="T45" fmla="*/ 14 h 237"/>
                <a:gd name="T46" fmla="*/ 191 w 226"/>
                <a:gd name="T47" fmla="*/ 7 h 237"/>
                <a:gd name="T48" fmla="*/ 154 w 226"/>
                <a:gd name="T49" fmla="*/ 2 h 237"/>
                <a:gd name="T50" fmla="*/ 20 w 226"/>
                <a:gd name="T51" fmla="*/ 6 h 237"/>
                <a:gd name="T52" fmla="*/ 18 w 226"/>
                <a:gd name="T53" fmla="*/ 31 h 237"/>
                <a:gd name="T54" fmla="*/ 10 w 226"/>
                <a:gd name="T55" fmla="*/ 54 h 237"/>
                <a:gd name="T56" fmla="*/ 3 w 226"/>
                <a:gd name="T57" fmla="*/ 79 h 237"/>
                <a:gd name="T58" fmla="*/ 0 w 226"/>
                <a:gd name="T59" fmla="*/ 111 h 237"/>
                <a:gd name="T60" fmla="*/ 3 w 226"/>
                <a:gd name="T61" fmla="*/ 130 h 237"/>
                <a:gd name="T62" fmla="*/ 10 w 226"/>
                <a:gd name="T63" fmla="*/ 146 h 237"/>
                <a:gd name="T64" fmla="*/ 30 w 226"/>
                <a:gd name="T65" fmla="*/ 173 h 237"/>
                <a:gd name="T66" fmla="*/ 51 w 226"/>
                <a:gd name="T67" fmla="*/ 199 h 237"/>
                <a:gd name="T68" fmla="*/ 57 w 226"/>
                <a:gd name="T69" fmla="*/ 216 h 237"/>
                <a:gd name="T70" fmla="*/ 61 w 226"/>
                <a:gd name="T71" fmla="*/ 234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74" name="Freeform 542"/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6516688" y="2917825"/>
              <a:ext cx="207962" cy="458788"/>
            </a:xfrm>
            <a:custGeom>
              <a:avLst/>
              <a:gdLst>
                <a:gd name="T0" fmla="*/ 287 w 478"/>
                <a:gd name="T1" fmla="*/ 109 h 875"/>
                <a:gd name="T2" fmla="*/ 250 w 478"/>
                <a:gd name="T3" fmla="*/ 138 h 875"/>
                <a:gd name="T4" fmla="*/ 199 w 478"/>
                <a:gd name="T5" fmla="*/ 197 h 875"/>
                <a:gd name="T6" fmla="*/ 198 w 478"/>
                <a:gd name="T7" fmla="*/ 213 h 875"/>
                <a:gd name="T8" fmla="*/ 206 w 478"/>
                <a:gd name="T9" fmla="*/ 239 h 875"/>
                <a:gd name="T10" fmla="*/ 221 w 478"/>
                <a:gd name="T11" fmla="*/ 265 h 875"/>
                <a:gd name="T12" fmla="*/ 240 w 478"/>
                <a:gd name="T13" fmla="*/ 288 h 875"/>
                <a:gd name="T14" fmla="*/ 259 w 478"/>
                <a:gd name="T15" fmla="*/ 301 h 875"/>
                <a:gd name="T16" fmla="*/ 279 w 478"/>
                <a:gd name="T17" fmla="*/ 329 h 875"/>
                <a:gd name="T18" fmla="*/ 295 w 478"/>
                <a:gd name="T19" fmla="*/ 361 h 875"/>
                <a:gd name="T20" fmla="*/ 305 w 478"/>
                <a:gd name="T21" fmla="*/ 369 h 875"/>
                <a:gd name="T22" fmla="*/ 438 w 478"/>
                <a:gd name="T23" fmla="*/ 499 h 875"/>
                <a:gd name="T24" fmla="*/ 471 w 478"/>
                <a:gd name="T25" fmla="*/ 589 h 875"/>
                <a:gd name="T26" fmla="*/ 478 w 478"/>
                <a:gd name="T27" fmla="*/ 647 h 875"/>
                <a:gd name="T28" fmla="*/ 476 w 478"/>
                <a:gd name="T29" fmla="*/ 687 h 875"/>
                <a:gd name="T30" fmla="*/ 478 w 478"/>
                <a:gd name="T31" fmla="*/ 708 h 875"/>
                <a:gd name="T32" fmla="*/ 447 w 478"/>
                <a:gd name="T33" fmla="*/ 718 h 875"/>
                <a:gd name="T34" fmla="*/ 420 w 478"/>
                <a:gd name="T35" fmla="*/ 733 h 875"/>
                <a:gd name="T36" fmla="*/ 391 w 478"/>
                <a:gd name="T37" fmla="*/ 756 h 875"/>
                <a:gd name="T38" fmla="*/ 365 w 478"/>
                <a:gd name="T39" fmla="*/ 789 h 875"/>
                <a:gd name="T40" fmla="*/ 348 w 478"/>
                <a:gd name="T41" fmla="*/ 785 h 875"/>
                <a:gd name="T42" fmla="*/ 319 w 478"/>
                <a:gd name="T43" fmla="*/ 789 h 875"/>
                <a:gd name="T44" fmla="*/ 313 w 478"/>
                <a:gd name="T45" fmla="*/ 804 h 875"/>
                <a:gd name="T46" fmla="*/ 289 w 478"/>
                <a:gd name="T47" fmla="*/ 838 h 875"/>
                <a:gd name="T48" fmla="*/ 256 w 478"/>
                <a:gd name="T49" fmla="*/ 868 h 875"/>
                <a:gd name="T50" fmla="*/ 239 w 478"/>
                <a:gd name="T51" fmla="*/ 875 h 875"/>
                <a:gd name="T52" fmla="*/ 232 w 478"/>
                <a:gd name="T53" fmla="*/ 868 h 875"/>
                <a:gd name="T54" fmla="*/ 225 w 478"/>
                <a:gd name="T55" fmla="*/ 844 h 875"/>
                <a:gd name="T56" fmla="*/ 231 w 478"/>
                <a:gd name="T57" fmla="*/ 800 h 875"/>
                <a:gd name="T58" fmla="*/ 253 w 478"/>
                <a:gd name="T59" fmla="*/ 775 h 875"/>
                <a:gd name="T60" fmla="*/ 277 w 478"/>
                <a:gd name="T61" fmla="*/ 760 h 875"/>
                <a:gd name="T62" fmla="*/ 295 w 478"/>
                <a:gd name="T63" fmla="*/ 753 h 875"/>
                <a:gd name="T64" fmla="*/ 305 w 478"/>
                <a:gd name="T65" fmla="*/ 743 h 875"/>
                <a:gd name="T66" fmla="*/ 314 w 478"/>
                <a:gd name="T67" fmla="*/ 714 h 875"/>
                <a:gd name="T68" fmla="*/ 330 w 478"/>
                <a:gd name="T69" fmla="*/ 686 h 875"/>
                <a:gd name="T70" fmla="*/ 365 w 478"/>
                <a:gd name="T71" fmla="*/ 643 h 875"/>
                <a:gd name="T72" fmla="*/ 371 w 478"/>
                <a:gd name="T73" fmla="*/ 536 h 875"/>
                <a:gd name="T74" fmla="*/ 364 w 478"/>
                <a:gd name="T75" fmla="*/ 475 h 875"/>
                <a:gd name="T76" fmla="*/ 341 w 478"/>
                <a:gd name="T77" fmla="*/ 427 h 875"/>
                <a:gd name="T78" fmla="*/ 297 w 478"/>
                <a:gd name="T79" fmla="*/ 377 h 875"/>
                <a:gd name="T80" fmla="*/ 219 w 478"/>
                <a:gd name="T81" fmla="*/ 308 h 875"/>
                <a:gd name="T82" fmla="*/ 161 w 478"/>
                <a:gd name="T83" fmla="*/ 255 h 875"/>
                <a:gd name="T84" fmla="*/ 108 w 478"/>
                <a:gd name="T85" fmla="*/ 198 h 875"/>
                <a:gd name="T86" fmla="*/ 72 w 478"/>
                <a:gd name="T87" fmla="*/ 146 h 875"/>
                <a:gd name="T88" fmla="*/ 42 w 478"/>
                <a:gd name="T89" fmla="*/ 104 h 875"/>
                <a:gd name="T90" fmla="*/ 46 w 478"/>
                <a:gd name="T91" fmla="*/ 41 h 875"/>
                <a:gd name="T92" fmla="*/ 129 w 478"/>
                <a:gd name="T93" fmla="*/ 19 h 875"/>
                <a:gd name="T94" fmla="*/ 148 w 478"/>
                <a:gd name="T95" fmla="*/ 5 h 875"/>
                <a:gd name="T96" fmla="*/ 175 w 478"/>
                <a:gd name="T97" fmla="*/ 16 h 875"/>
                <a:gd name="T98" fmla="*/ 221 w 478"/>
                <a:gd name="T99" fmla="*/ 35 h 875"/>
                <a:gd name="T100" fmla="*/ 269 w 478"/>
                <a:gd name="T101" fmla="*/ 67 h 8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75" name="Freeform 543"/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6604000" y="3603625"/>
              <a:ext cx="25400" cy="57150"/>
            </a:xfrm>
            <a:custGeom>
              <a:avLst/>
              <a:gdLst>
                <a:gd name="T0" fmla="*/ 59 w 59"/>
                <a:gd name="T1" fmla="*/ 6 h 31"/>
                <a:gd name="T2" fmla="*/ 57 w 59"/>
                <a:gd name="T3" fmla="*/ 11 h 31"/>
                <a:gd name="T4" fmla="*/ 53 w 59"/>
                <a:gd name="T5" fmla="*/ 15 h 31"/>
                <a:gd name="T6" fmla="*/ 49 w 59"/>
                <a:gd name="T7" fmla="*/ 19 h 31"/>
                <a:gd name="T8" fmla="*/ 45 w 59"/>
                <a:gd name="T9" fmla="*/ 24 h 31"/>
                <a:gd name="T10" fmla="*/ 40 w 59"/>
                <a:gd name="T11" fmla="*/ 27 h 31"/>
                <a:gd name="T12" fmla="*/ 36 w 59"/>
                <a:gd name="T13" fmla="*/ 29 h 31"/>
                <a:gd name="T14" fmla="*/ 30 w 59"/>
                <a:gd name="T15" fmla="*/ 31 h 31"/>
                <a:gd name="T16" fmla="*/ 26 w 59"/>
                <a:gd name="T17" fmla="*/ 31 h 31"/>
                <a:gd name="T18" fmla="*/ 21 w 59"/>
                <a:gd name="T19" fmla="*/ 31 h 31"/>
                <a:gd name="T20" fmla="*/ 17 w 59"/>
                <a:gd name="T21" fmla="*/ 30 h 31"/>
                <a:gd name="T22" fmla="*/ 14 w 59"/>
                <a:gd name="T23" fmla="*/ 29 h 31"/>
                <a:gd name="T24" fmla="*/ 11 w 59"/>
                <a:gd name="T25" fmla="*/ 27 h 31"/>
                <a:gd name="T26" fmla="*/ 4 w 59"/>
                <a:gd name="T27" fmla="*/ 20 h 31"/>
                <a:gd name="T28" fmla="*/ 0 w 59"/>
                <a:gd name="T29" fmla="*/ 12 h 31"/>
                <a:gd name="T30" fmla="*/ 1 w 59"/>
                <a:gd name="T31" fmla="*/ 9 h 31"/>
                <a:gd name="T32" fmla="*/ 3 w 59"/>
                <a:gd name="T33" fmla="*/ 6 h 31"/>
                <a:gd name="T34" fmla="*/ 5 w 59"/>
                <a:gd name="T35" fmla="*/ 4 h 31"/>
                <a:gd name="T36" fmla="*/ 8 w 59"/>
                <a:gd name="T37" fmla="*/ 3 h 31"/>
                <a:gd name="T38" fmla="*/ 16 w 59"/>
                <a:gd name="T39" fmla="*/ 1 h 31"/>
                <a:gd name="T40" fmla="*/ 24 w 59"/>
                <a:gd name="T41" fmla="*/ 0 h 31"/>
                <a:gd name="T42" fmla="*/ 34 w 59"/>
                <a:gd name="T43" fmla="*/ 0 h 31"/>
                <a:gd name="T44" fmla="*/ 42 w 59"/>
                <a:gd name="T45" fmla="*/ 2 h 31"/>
                <a:gd name="T46" fmla="*/ 51 w 59"/>
                <a:gd name="T47" fmla="*/ 4 h 31"/>
                <a:gd name="T48" fmla="*/ 59 w 59"/>
                <a:gd name="T4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A5D7D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76" name="Freeform 544"/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5295900" y="2862263"/>
              <a:ext cx="174625" cy="271462"/>
            </a:xfrm>
            <a:custGeom>
              <a:avLst/>
              <a:gdLst>
                <a:gd name="T0" fmla="*/ 200 w 399"/>
                <a:gd name="T1" fmla="*/ 8 h 518"/>
                <a:gd name="T2" fmla="*/ 202 w 399"/>
                <a:gd name="T3" fmla="*/ 22 h 518"/>
                <a:gd name="T4" fmla="*/ 208 w 399"/>
                <a:gd name="T5" fmla="*/ 36 h 518"/>
                <a:gd name="T6" fmla="*/ 214 w 399"/>
                <a:gd name="T7" fmla="*/ 49 h 518"/>
                <a:gd name="T8" fmla="*/ 224 w 399"/>
                <a:gd name="T9" fmla="*/ 63 h 518"/>
                <a:gd name="T10" fmla="*/ 235 w 399"/>
                <a:gd name="T11" fmla="*/ 75 h 518"/>
                <a:gd name="T12" fmla="*/ 249 w 399"/>
                <a:gd name="T13" fmla="*/ 86 h 518"/>
                <a:gd name="T14" fmla="*/ 264 w 399"/>
                <a:gd name="T15" fmla="*/ 95 h 518"/>
                <a:gd name="T16" fmla="*/ 316 w 399"/>
                <a:gd name="T17" fmla="*/ 106 h 518"/>
                <a:gd name="T18" fmla="*/ 365 w 399"/>
                <a:gd name="T19" fmla="*/ 119 h 518"/>
                <a:gd name="T20" fmla="*/ 380 w 399"/>
                <a:gd name="T21" fmla="*/ 127 h 518"/>
                <a:gd name="T22" fmla="*/ 392 w 399"/>
                <a:gd name="T23" fmla="*/ 137 h 518"/>
                <a:gd name="T24" fmla="*/ 398 w 399"/>
                <a:gd name="T25" fmla="*/ 151 h 518"/>
                <a:gd name="T26" fmla="*/ 398 w 399"/>
                <a:gd name="T27" fmla="*/ 174 h 518"/>
                <a:gd name="T28" fmla="*/ 390 w 399"/>
                <a:gd name="T29" fmla="*/ 200 h 518"/>
                <a:gd name="T30" fmla="*/ 369 w 399"/>
                <a:gd name="T31" fmla="*/ 239 h 518"/>
                <a:gd name="T32" fmla="*/ 344 w 399"/>
                <a:gd name="T33" fmla="*/ 276 h 518"/>
                <a:gd name="T34" fmla="*/ 328 w 399"/>
                <a:gd name="T35" fmla="*/ 303 h 518"/>
                <a:gd name="T36" fmla="*/ 314 w 399"/>
                <a:gd name="T37" fmla="*/ 330 h 518"/>
                <a:gd name="T38" fmla="*/ 307 w 399"/>
                <a:gd name="T39" fmla="*/ 360 h 518"/>
                <a:gd name="T40" fmla="*/ 297 w 399"/>
                <a:gd name="T41" fmla="*/ 377 h 518"/>
                <a:gd name="T42" fmla="*/ 268 w 399"/>
                <a:gd name="T43" fmla="*/ 387 h 518"/>
                <a:gd name="T44" fmla="*/ 246 w 399"/>
                <a:gd name="T45" fmla="*/ 399 h 518"/>
                <a:gd name="T46" fmla="*/ 235 w 399"/>
                <a:gd name="T47" fmla="*/ 408 h 518"/>
                <a:gd name="T48" fmla="*/ 227 w 399"/>
                <a:gd name="T49" fmla="*/ 417 h 518"/>
                <a:gd name="T50" fmla="*/ 224 w 399"/>
                <a:gd name="T51" fmla="*/ 427 h 518"/>
                <a:gd name="T52" fmla="*/ 213 w 399"/>
                <a:gd name="T53" fmla="*/ 438 h 518"/>
                <a:gd name="T54" fmla="*/ 188 w 399"/>
                <a:gd name="T55" fmla="*/ 450 h 518"/>
                <a:gd name="T56" fmla="*/ 173 w 399"/>
                <a:gd name="T57" fmla="*/ 456 h 518"/>
                <a:gd name="T58" fmla="*/ 166 w 399"/>
                <a:gd name="T59" fmla="*/ 467 h 518"/>
                <a:gd name="T60" fmla="*/ 158 w 399"/>
                <a:gd name="T61" fmla="*/ 481 h 518"/>
                <a:gd name="T62" fmla="*/ 146 w 399"/>
                <a:gd name="T63" fmla="*/ 490 h 518"/>
                <a:gd name="T64" fmla="*/ 131 w 399"/>
                <a:gd name="T65" fmla="*/ 494 h 518"/>
                <a:gd name="T66" fmla="*/ 102 w 399"/>
                <a:gd name="T67" fmla="*/ 498 h 518"/>
                <a:gd name="T68" fmla="*/ 73 w 399"/>
                <a:gd name="T69" fmla="*/ 504 h 518"/>
                <a:gd name="T70" fmla="*/ 55 w 399"/>
                <a:gd name="T71" fmla="*/ 512 h 518"/>
                <a:gd name="T72" fmla="*/ 46 w 399"/>
                <a:gd name="T73" fmla="*/ 514 h 518"/>
                <a:gd name="T74" fmla="*/ 43 w 399"/>
                <a:gd name="T75" fmla="*/ 506 h 518"/>
                <a:gd name="T76" fmla="*/ 38 w 399"/>
                <a:gd name="T77" fmla="*/ 497 h 518"/>
                <a:gd name="T78" fmla="*/ 34 w 399"/>
                <a:gd name="T79" fmla="*/ 487 h 518"/>
                <a:gd name="T80" fmla="*/ 33 w 399"/>
                <a:gd name="T81" fmla="*/ 468 h 518"/>
                <a:gd name="T82" fmla="*/ 29 w 399"/>
                <a:gd name="T83" fmla="*/ 445 h 518"/>
                <a:gd name="T84" fmla="*/ 17 w 399"/>
                <a:gd name="T85" fmla="*/ 418 h 518"/>
                <a:gd name="T86" fmla="*/ 0 w 399"/>
                <a:gd name="T87" fmla="*/ 358 h 518"/>
                <a:gd name="T88" fmla="*/ 194 w 399"/>
                <a:gd name="T89" fmla="*/ 185 h 518"/>
                <a:gd name="T90" fmla="*/ 200 w 399"/>
                <a:gd name="T91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77" name="Freeform 545"/>
            <p:cNvSpPr>
              <a:spLocks/>
            </p:cNvSpPr>
            <p:nvPr>
              <p:custDataLst>
                <p:tags r:id="rId371"/>
              </p:custDataLst>
            </p:nvPr>
          </p:nvSpPr>
          <p:spPr bwMode="auto">
            <a:xfrm>
              <a:off x="4022725" y="2916238"/>
              <a:ext cx="376238" cy="385762"/>
            </a:xfrm>
            <a:custGeom>
              <a:avLst/>
              <a:gdLst>
                <a:gd name="T0" fmla="*/ 231 w 866"/>
                <a:gd name="T1" fmla="*/ 270 h 740"/>
                <a:gd name="T2" fmla="*/ 245 w 866"/>
                <a:gd name="T3" fmla="*/ 264 h 740"/>
                <a:gd name="T4" fmla="*/ 272 w 866"/>
                <a:gd name="T5" fmla="*/ 272 h 740"/>
                <a:gd name="T6" fmla="*/ 654 w 866"/>
                <a:gd name="T7" fmla="*/ 1 h 740"/>
                <a:gd name="T8" fmla="*/ 679 w 866"/>
                <a:gd name="T9" fmla="*/ 6 h 740"/>
                <a:gd name="T10" fmla="*/ 711 w 866"/>
                <a:gd name="T11" fmla="*/ 21 h 740"/>
                <a:gd name="T12" fmla="*/ 730 w 866"/>
                <a:gd name="T13" fmla="*/ 35 h 740"/>
                <a:gd name="T14" fmla="*/ 760 w 866"/>
                <a:gd name="T15" fmla="*/ 57 h 740"/>
                <a:gd name="T16" fmla="*/ 791 w 866"/>
                <a:gd name="T17" fmla="*/ 59 h 740"/>
                <a:gd name="T18" fmla="*/ 831 w 866"/>
                <a:gd name="T19" fmla="*/ 43 h 740"/>
                <a:gd name="T20" fmla="*/ 854 w 866"/>
                <a:gd name="T21" fmla="*/ 166 h 740"/>
                <a:gd name="T22" fmla="*/ 866 w 866"/>
                <a:gd name="T23" fmla="*/ 205 h 740"/>
                <a:gd name="T24" fmla="*/ 850 w 866"/>
                <a:gd name="T25" fmla="*/ 301 h 740"/>
                <a:gd name="T26" fmla="*/ 848 w 866"/>
                <a:gd name="T27" fmla="*/ 376 h 740"/>
                <a:gd name="T28" fmla="*/ 834 w 866"/>
                <a:gd name="T29" fmla="*/ 421 h 740"/>
                <a:gd name="T30" fmla="*/ 802 w 866"/>
                <a:gd name="T31" fmla="*/ 467 h 740"/>
                <a:gd name="T32" fmla="*/ 777 w 866"/>
                <a:gd name="T33" fmla="*/ 499 h 740"/>
                <a:gd name="T34" fmla="*/ 758 w 866"/>
                <a:gd name="T35" fmla="*/ 567 h 740"/>
                <a:gd name="T36" fmla="*/ 711 w 866"/>
                <a:gd name="T37" fmla="*/ 629 h 740"/>
                <a:gd name="T38" fmla="*/ 680 w 866"/>
                <a:gd name="T39" fmla="*/ 646 h 740"/>
                <a:gd name="T40" fmla="*/ 644 w 866"/>
                <a:gd name="T41" fmla="*/ 638 h 740"/>
                <a:gd name="T42" fmla="*/ 611 w 866"/>
                <a:gd name="T43" fmla="*/ 625 h 740"/>
                <a:gd name="T44" fmla="*/ 566 w 866"/>
                <a:gd name="T45" fmla="*/ 633 h 740"/>
                <a:gd name="T46" fmla="*/ 530 w 866"/>
                <a:gd name="T47" fmla="*/ 659 h 740"/>
                <a:gd name="T48" fmla="*/ 511 w 866"/>
                <a:gd name="T49" fmla="*/ 680 h 740"/>
                <a:gd name="T50" fmla="*/ 491 w 866"/>
                <a:gd name="T51" fmla="*/ 684 h 740"/>
                <a:gd name="T52" fmla="*/ 470 w 866"/>
                <a:gd name="T53" fmla="*/ 668 h 740"/>
                <a:gd name="T54" fmla="*/ 446 w 866"/>
                <a:gd name="T55" fmla="*/ 639 h 740"/>
                <a:gd name="T56" fmla="*/ 421 w 866"/>
                <a:gd name="T57" fmla="*/ 635 h 740"/>
                <a:gd name="T58" fmla="*/ 405 w 866"/>
                <a:gd name="T59" fmla="*/ 647 h 740"/>
                <a:gd name="T60" fmla="*/ 384 w 866"/>
                <a:gd name="T61" fmla="*/ 652 h 740"/>
                <a:gd name="T62" fmla="*/ 350 w 866"/>
                <a:gd name="T63" fmla="*/ 638 h 740"/>
                <a:gd name="T64" fmla="*/ 306 w 866"/>
                <a:gd name="T65" fmla="*/ 608 h 740"/>
                <a:gd name="T66" fmla="*/ 271 w 866"/>
                <a:gd name="T67" fmla="*/ 604 h 740"/>
                <a:gd name="T68" fmla="*/ 237 w 866"/>
                <a:gd name="T69" fmla="*/ 620 h 740"/>
                <a:gd name="T70" fmla="*/ 209 w 866"/>
                <a:gd name="T71" fmla="*/ 653 h 740"/>
                <a:gd name="T72" fmla="*/ 190 w 866"/>
                <a:gd name="T73" fmla="*/ 692 h 740"/>
                <a:gd name="T74" fmla="*/ 178 w 866"/>
                <a:gd name="T75" fmla="*/ 719 h 740"/>
                <a:gd name="T76" fmla="*/ 149 w 866"/>
                <a:gd name="T77" fmla="*/ 702 h 740"/>
                <a:gd name="T78" fmla="*/ 100 w 866"/>
                <a:gd name="T79" fmla="*/ 740 h 740"/>
                <a:gd name="T80" fmla="*/ 66 w 866"/>
                <a:gd name="T81" fmla="*/ 699 h 740"/>
                <a:gd name="T82" fmla="*/ 64 w 866"/>
                <a:gd name="T83" fmla="*/ 644 h 740"/>
                <a:gd name="T84" fmla="*/ 50 w 866"/>
                <a:gd name="T85" fmla="*/ 613 h 740"/>
                <a:gd name="T86" fmla="*/ 20 w 866"/>
                <a:gd name="T87" fmla="*/ 587 h 740"/>
                <a:gd name="T88" fmla="*/ 5 w 866"/>
                <a:gd name="T89" fmla="*/ 558 h 740"/>
                <a:gd name="T90" fmla="*/ 53 w 866"/>
                <a:gd name="T91" fmla="*/ 530 h 740"/>
                <a:gd name="T92" fmla="*/ 76 w 866"/>
                <a:gd name="T93" fmla="*/ 518 h 740"/>
                <a:gd name="T94" fmla="*/ 139 w 866"/>
                <a:gd name="T95" fmla="*/ 510 h 740"/>
                <a:gd name="T96" fmla="*/ 182 w 866"/>
                <a:gd name="T97" fmla="*/ 500 h 740"/>
                <a:gd name="T98" fmla="*/ 201 w 866"/>
                <a:gd name="T99" fmla="*/ 475 h 740"/>
                <a:gd name="T100" fmla="*/ 219 w 866"/>
                <a:gd name="T101" fmla="*/ 424 h 740"/>
                <a:gd name="T102" fmla="*/ 224 w 866"/>
                <a:gd name="T103" fmla="*/ 367 h 740"/>
                <a:gd name="T104" fmla="*/ 219 w 866"/>
                <a:gd name="T105" fmla="*/ 320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78" name="Freeform 546"/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3692525" y="2533650"/>
              <a:ext cx="300038" cy="260350"/>
            </a:xfrm>
            <a:custGeom>
              <a:avLst/>
              <a:gdLst>
                <a:gd name="T0" fmla="*/ 648 w 697"/>
                <a:gd name="T1" fmla="*/ 53 h 500"/>
                <a:gd name="T2" fmla="*/ 657 w 697"/>
                <a:gd name="T3" fmla="*/ 161 h 500"/>
                <a:gd name="T4" fmla="*/ 661 w 697"/>
                <a:gd name="T5" fmla="*/ 167 h 500"/>
                <a:gd name="T6" fmla="*/ 677 w 697"/>
                <a:gd name="T7" fmla="*/ 177 h 500"/>
                <a:gd name="T8" fmla="*/ 694 w 697"/>
                <a:gd name="T9" fmla="*/ 189 h 500"/>
                <a:gd name="T10" fmla="*/ 697 w 697"/>
                <a:gd name="T11" fmla="*/ 198 h 500"/>
                <a:gd name="T12" fmla="*/ 694 w 697"/>
                <a:gd name="T13" fmla="*/ 211 h 500"/>
                <a:gd name="T14" fmla="*/ 685 w 697"/>
                <a:gd name="T15" fmla="*/ 217 h 500"/>
                <a:gd name="T16" fmla="*/ 655 w 697"/>
                <a:gd name="T17" fmla="*/ 218 h 500"/>
                <a:gd name="T18" fmla="*/ 605 w 697"/>
                <a:gd name="T19" fmla="*/ 228 h 500"/>
                <a:gd name="T20" fmla="*/ 567 w 697"/>
                <a:gd name="T21" fmla="*/ 250 h 500"/>
                <a:gd name="T22" fmla="*/ 549 w 697"/>
                <a:gd name="T23" fmla="*/ 267 h 500"/>
                <a:gd name="T24" fmla="*/ 539 w 697"/>
                <a:gd name="T25" fmla="*/ 288 h 500"/>
                <a:gd name="T26" fmla="*/ 521 w 697"/>
                <a:gd name="T27" fmla="*/ 302 h 500"/>
                <a:gd name="T28" fmla="*/ 491 w 697"/>
                <a:gd name="T29" fmla="*/ 324 h 500"/>
                <a:gd name="T30" fmla="*/ 455 w 697"/>
                <a:gd name="T31" fmla="*/ 352 h 500"/>
                <a:gd name="T32" fmla="*/ 420 w 697"/>
                <a:gd name="T33" fmla="*/ 370 h 500"/>
                <a:gd name="T34" fmla="*/ 372 w 697"/>
                <a:gd name="T35" fmla="*/ 377 h 500"/>
                <a:gd name="T36" fmla="*/ 344 w 697"/>
                <a:gd name="T37" fmla="*/ 380 h 500"/>
                <a:gd name="T38" fmla="*/ 316 w 697"/>
                <a:gd name="T39" fmla="*/ 396 h 500"/>
                <a:gd name="T40" fmla="*/ 290 w 697"/>
                <a:gd name="T41" fmla="*/ 417 h 500"/>
                <a:gd name="T42" fmla="*/ 265 w 697"/>
                <a:gd name="T43" fmla="*/ 426 h 500"/>
                <a:gd name="T44" fmla="*/ 5 w 697"/>
                <a:gd name="T45" fmla="*/ 496 h 500"/>
                <a:gd name="T46" fmla="*/ 32 w 697"/>
                <a:gd name="T47" fmla="*/ 487 h 500"/>
                <a:gd name="T48" fmla="*/ 85 w 697"/>
                <a:gd name="T49" fmla="*/ 473 h 500"/>
                <a:gd name="T50" fmla="*/ 93 w 697"/>
                <a:gd name="T51" fmla="*/ 459 h 500"/>
                <a:gd name="T52" fmla="*/ 99 w 697"/>
                <a:gd name="T53" fmla="*/ 438 h 500"/>
                <a:gd name="T54" fmla="*/ 119 w 697"/>
                <a:gd name="T55" fmla="*/ 422 h 500"/>
                <a:gd name="T56" fmla="*/ 160 w 697"/>
                <a:gd name="T57" fmla="*/ 399 h 500"/>
                <a:gd name="T58" fmla="*/ 181 w 697"/>
                <a:gd name="T59" fmla="*/ 382 h 500"/>
                <a:gd name="T60" fmla="*/ 192 w 697"/>
                <a:gd name="T61" fmla="*/ 357 h 500"/>
                <a:gd name="T62" fmla="*/ 193 w 697"/>
                <a:gd name="T63" fmla="*/ 316 h 500"/>
                <a:gd name="T64" fmla="*/ 195 w 697"/>
                <a:gd name="T65" fmla="*/ 254 h 500"/>
                <a:gd name="T66" fmla="*/ 192 w 697"/>
                <a:gd name="T67" fmla="*/ 192 h 500"/>
                <a:gd name="T68" fmla="*/ 214 w 697"/>
                <a:gd name="T69" fmla="*/ 189 h 500"/>
                <a:gd name="T70" fmla="*/ 228 w 697"/>
                <a:gd name="T71" fmla="*/ 179 h 500"/>
                <a:gd name="T72" fmla="*/ 241 w 697"/>
                <a:gd name="T73" fmla="*/ 165 h 500"/>
                <a:gd name="T74" fmla="*/ 252 w 697"/>
                <a:gd name="T75" fmla="*/ 152 h 500"/>
                <a:gd name="T76" fmla="*/ 281 w 697"/>
                <a:gd name="T77" fmla="*/ 146 h 500"/>
                <a:gd name="T78" fmla="*/ 314 w 697"/>
                <a:gd name="T79" fmla="*/ 143 h 500"/>
                <a:gd name="T80" fmla="*/ 340 w 697"/>
                <a:gd name="T81" fmla="*/ 131 h 500"/>
                <a:gd name="T82" fmla="*/ 360 w 697"/>
                <a:gd name="T83" fmla="*/ 108 h 500"/>
                <a:gd name="T84" fmla="*/ 388 w 697"/>
                <a:gd name="T85" fmla="*/ 48 h 500"/>
                <a:gd name="T86" fmla="*/ 407 w 697"/>
                <a:gd name="T87" fmla="*/ 12 h 500"/>
                <a:gd name="T88" fmla="*/ 426 w 697"/>
                <a:gd name="T89" fmla="*/ 8 h 500"/>
                <a:gd name="T90" fmla="*/ 449 w 697"/>
                <a:gd name="T91" fmla="*/ 20 h 500"/>
                <a:gd name="T92" fmla="*/ 512 w 697"/>
                <a:gd name="T93" fmla="*/ 18 h 500"/>
                <a:gd name="T94" fmla="*/ 590 w 697"/>
                <a:gd name="T95" fmla="*/ 13 h 500"/>
                <a:gd name="T96" fmla="*/ 597 w 697"/>
                <a:gd name="T97" fmla="*/ 17 h 500"/>
                <a:gd name="T98" fmla="*/ 605 w 697"/>
                <a:gd name="T99" fmla="*/ 36 h 500"/>
                <a:gd name="T100" fmla="*/ 611 w 697"/>
                <a:gd name="T101" fmla="*/ 51 h 500"/>
                <a:gd name="T102" fmla="*/ 618 w 697"/>
                <a:gd name="T103" fmla="*/ 50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79" name="Freeform 547"/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4392613" y="1463675"/>
              <a:ext cx="236537" cy="92075"/>
            </a:xfrm>
            <a:custGeom>
              <a:avLst/>
              <a:gdLst>
                <a:gd name="T0" fmla="*/ 74 w 546"/>
                <a:gd name="T1" fmla="*/ 19 h 173"/>
                <a:gd name="T2" fmla="*/ 94 w 546"/>
                <a:gd name="T3" fmla="*/ 34 h 173"/>
                <a:gd name="T4" fmla="*/ 110 w 546"/>
                <a:gd name="T5" fmla="*/ 27 h 173"/>
                <a:gd name="T6" fmla="*/ 132 w 546"/>
                <a:gd name="T7" fmla="*/ 27 h 173"/>
                <a:gd name="T8" fmla="*/ 161 w 546"/>
                <a:gd name="T9" fmla="*/ 44 h 173"/>
                <a:gd name="T10" fmla="*/ 209 w 546"/>
                <a:gd name="T11" fmla="*/ 19 h 173"/>
                <a:gd name="T12" fmla="*/ 243 w 546"/>
                <a:gd name="T13" fmla="*/ 19 h 173"/>
                <a:gd name="T14" fmla="*/ 260 w 546"/>
                <a:gd name="T15" fmla="*/ 16 h 173"/>
                <a:gd name="T16" fmla="*/ 269 w 546"/>
                <a:gd name="T17" fmla="*/ 14 h 173"/>
                <a:gd name="T18" fmla="*/ 279 w 546"/>
                <a:gd name="T19" fmla="*/ 11 h 173"/>
                <a:gd name="T20" fmla="*/ 286 w 546"/>
                <a:gd name="T21" fmla="*/ 3 h 173"/>
                <a:gd name="T22" fmla="*/ 321 w 546"/>
                <a:gd name="T23" fmla="*/ 5 h 173"/>
                <a:gd name="T24" fmla="*/ 333 w 546"/>
                <a:gd name="T25" fmla="*/ 12 h 173"/>
                <a:gd name="T26" fmla="*/ 348 w 546"/>
                <a:gd name="T27" fmla="*/ 7 h 173"/>
                <a:gd name="T28" fmla="*/ 353 w 546"/>
                <a:gd name="T29" fmla="*/ 0 h 173"/>
                <a:gd name="T30" fmla="*/ 367 w 546"/>
                <a:gd name="T31" fmla="*/ 7 h 173"/>
                <a:gd name="T32" fmla="*/ 389 w 546"/>
                <a:gd name="T33" fmla="*/ 7 h 173"/>
                <a:gd name="T34" fmla="*/ 436 w 546"/>
                <a:gd name="T35" fmla="*/ 1 h 173"/>
                <a:gd name="T36" fmla="*/ 482 w 546"/>
                <a:gd name="T37" fmla="*/ 6 h 173"/>
                <a:gd name="T38" fmla="*/ 528 w 546"/>
                <a:gd name="T39" fmla="*/ 12 h 173"/>
                <a:gd name="T40" fmla="*/ 545 w 546"/>
                <a:gd name="T41" fmla="*/ 49 h 173"/>
                <a:gd name="T42" fmla="*/ 537 w 546"/>
                <a:gd name="T43" fmla="*/ 60 h 173"/>
                <a:gd name="T44" fmla="*/ 513 w 546"/>
                <a:gd name="T45" fmla="*/ 62 h 173"/>
                <a:gd name="T46" fmla="*/ 483 w 546"/>
                <a:gd name="T47" fmla="*/ 54 h 173"/>
                <a:gd name="T48" fmla="*/ 413 w 546"/>
                <a:gd name="T49" fmla="*/ 44 h 173"/>
                <a:gd name="T50" fmla="*/ 438 w 546"/>
                <a:gd name="T51" fmla="*/ 81 h 173"/>
                <a:gd name="T52" fmla="*/ 471 w 546"/>
                <a:gd name="T53" fmla="*/ 102 h 173"/>
                <a:gd name="T54" fmla="*/ 493 w 546"/>
                <a:gd name="T55" fmla="*/ 119 h 173"/>
                <a:gd name="T56" fmla="*/ 475 w 546"/>
                <a:gd name="T57" fmla="*/ 136 h 173"/>
                <a:gd name="T58" fmla="*/ 449 w 546"/>
                <a:gd name="T59" fmla="*/ 142 h 173"/>
                <a:gd name="T60" fmla="*/ 426 w 546"/>
                <a:gd name="T61" fmla="*/ 141 h 173"/>
                <a:gd name="T62" fmla="*/ 412 w 546"/>
                <a:gd name="T63" fmla="*/ 134 h 173"/>
                <a:gd name="T64" fmla="*/ 399 w 546"/>
                <a:gd name="T65" fmla="*/ 130 h 173"/>
                <a:gd name="T66" fmla="*/ 385 w 546"/>
                <a:gd name="T67" fmla="*/ 121 h 173"/>
                <a:gd name="T68" fmla="*/ 375 w 546"/>
                <a:gd name="T69" fmla="*/ 104 h 173"/>
                <a:gd name="T70" fmla="*/ 365 w 546"/>
                <a:gd name="T71" fmla="*/ 92 h 173"/>
                <a:gd name="T72" fmla="*/ 344 w 546"/>
                <a:gd name="T73" fmla="*/ 84 h 173"/>
                <a:gd name="T74" fmla="*/ 325 w 546"/>
                <a:gd name="T75" fmla="*/ 76 h 173"/>
                <a:gd name="T76" fmla="*/ 303 w 546"/>
                <a:gd name="T77" fmla="*/ 87 h 173"/>
                <a:gd name="T78" fmla="*/ 258 w 546"/>
                <a:gd name="T79" fmla="*/ 134 h 173"/>
                <a:gd name="T80" fmla="*/ 236 w 546"/>
                <a:gd name="T81" fmla="*/ 163 h 173"/>
                <a:gd name="T82" fmla="*/ 220 w 546"/>
                <a:gd name="T83" fmla="*/ 172 h 173"/>
                <a:gd name="T84" fmla="*/ 188 w 546"/>
                <a:gd name="T85" fmla="*/ 167 h 173"/>
                <a:gd name="T86" fmla="*/ 165 w 546"/>
                <a:gd name="T87" fmla="*/ 155 h 173"/>
                <a:gd name="T88" fmla="*/ 113 w 546"/>
                <a:gd name="T89" fmla="*/ 105 h 173"/>
                <a:gd name="T90" fmla="*/ 95 w 546"/>
                <a:gd name="T91" fmla="*/ 91 h 173"/>
                <a:gd name="T92" fmla="*/ 60 w 546"/>
                <a:gd name="T93" fmla="*/ 76 h 173"/>
                <a:gd name="T94" fmla="*/ 16 w 546"/>
                <a:gd name="T95" fmla="*/ 58 h 173"/>
                <a:gd name="T96" fmla="*/ 11 w 546"/>
                <a:gd name="T97" fmla="*/ 34 h 173"/>
                <a:gd name="T98" fmla="*/ 28 w 546"/>
                <a:gd name="T99" fmla="*/ 19 h 173"/>
                <a:gd name="T100" fmla="*/ 47 w 546"/>
                <a:gd name="T101" fmla="*/ 1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80" name="Freeform 548"/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4903788" y="1447800"/>
              <a:ext cx="107950" cy="60325"/>
            </a:xfrm>
            <a:custGeom>
              <a:avLst/>
              <a:gdLst>
                <a:gd name="T0" fmla="*/ 27 w 246"/>
                <a:gd name="T1" fmla="*/ 36 h 42"/>
                <a:gd name="T2" fmla="*/ 36 w 246"/>
                <a:gd name="T3" fmla="*/ 36 h 42"/>
                <a:gd name="T4" fmla="*/ 45 w 246"/>
                <a:gd name="T5" fmla="*/ 35 h 42"/>
                <a:gd name="T6" fmla="*/ 53 w 246"/>
                <a:gd name="T7" fmla="*/ 33 h 42"/>
                <a:gd name="T8" fmla="*/ 59 w 246"/>
                <a:gd name="T9" fmla="*/ 31 h 42"/>
                <a:gd name="T10" fmla="*/ 66 w 246"/>
                <a:gd name="T11" fmla="*/ 30 h 42"/>
                <a:gd name="T12" fmla="*/ 72 w 246"/>
                <a:gd name="T13" fmla="*/ 29 h 42"/>
                <a:gd name="T14" fmla="*/ 80 w 246"/>
                <a:gd name="T15" fmla="*/ 29 h 42"/>
                <a:gd name="T16" fmla="*/ 87 w 246"/>
                <a:gd name="T17" fmla="*/ 30 h 42"/>
                <a:gd name="T18" fmla="*/ 87 w 246"/>
                <a:gd name="T19" fmla="*/ 42 h 42"/>
                <a:gd name="T20" fmla="*/ 154 w 246"/>
                <a:gd name="T21" fmla="*/ 42 h 42"/>
                <a:gd name="T22" fmla="*/ 154 w 246"/>
                <a:gd name="T23" fmla="*/ 39 h 42"/>
                <a:gd name="T24" fmla="*/ 156 w 246"/>
                <a:gd name="T25" fmla="*/ 36 h 42"/>
                <a:gd name="T26" fmla="*/ 159 w 246"/>
                <a:gd name="T27" fmla="*/ 33 h 42"/>
                <a:gd name="T28" fmla="*/ 163 w 246"/>
                <a:gd name="T29" fmla="*/ 31 h 42"/>
                <a:gd name="T30" fmla="*/ 175 w 246"/>
                <a:gd name="T31" fmla="*/ 26 h 42"/>
                <a:gd name="T32" fmla="*/ 190 w 246"/>
                <a:gd name="T33" fmla="*/ 23 h 42"/>
                <a:gd name="T34" fmla="*/ 221 w 246"/>
                <a:gd name="T35" fmla="*/ 17 h 42"/>
                <a:gd name="T36" fmla="*/ 246 w 246"/>
                <a:gd name="T37" fmla="*/ 12 h 42"/>
                <a:gd name="T38" fmla="*/ 212 w 246"/>
                <a:gd name="T39" fmla="*/ 13 h 42"/>
                <a:gd name="T40" fmla="*/ 186 w 246"/>
                <a:gd name="T41" fmla="*/ 14 h 42"/>
                <a:gd name="T42" fmla="*/ 178 w 246"/>
                <a:gd name="T43" fmla="*/ 15 h 42"/>
                <a:gd name="T44" fmla="*/ 171 w 246"/>
                <a:gd name="T45" fmla="*/ 15 h 42"/>
                <a:gd name="T46" fmla="*/ 168 w 246"/>
                <a:gd name="T47" fmla="*/ 14 h 42"/>
                <a:gd name="T48" fmla="*/ 167 w 246"/>
                <a:gd name="T49" fmla="*/ 12 h 42"/>
                <a:gd name="T50" fmla="*/ 159 w 246"/>
                <a:gd name="T51" fmla="*/ 16 h 42"/>
                <a:gd name="T52" fmla="*/ 152 w 246"/>
                <a:gd name="T53" fmla="*/ 17 h 42"/>
                <a:gd name="T54" fmla="*/ 147 w 246"/>
                <a:gd name="T55" fmla="*/ 17 h 42"/>
                <a:gd name="T56" fmla="*/ 141 w 246"/>
                <a:gd name="T57" fmla="*/ 15 h 42"/>
                <a:gd name="T58" fmla="*/ 137 w 246"/>
                <a:gd name="T59" fmla="*/ 12 h 42"/>
                <a:gd name="T60" fmla="*/ 133 w 246"/>
                <a:gd name="T61" fmla="*/ 9 h 42"/>
                <a:gd name="T62" fmla="*/ 129 w 246"/>
                <a:gd name="T63" fmla="*/ 5 h 42"/>
                <a:gd name="T64" fmla="*/ 126 w 246"/>
                <a:gd name="T65" fmla="*/ 0 h 42"/>
                <a:gd name="T66" fmla="*/ 121 w 246"/>
                <a:gd name="T67" fmla="*/ 2 h 42"/>
                <a:gd name="T68" fmla="*/ 113 w 246"/>
                <a:gd name="T69" fmla="*/ 4 h 42"/>
                <a:gd name="T70" fmla="*/ 103 w 246"/>
                <a:gd name="T71" fmla="*/ 5 h 42"/>
                <a:gd name="T72" fmla="*/ 93 w 246"/>
                <a:gd name="T73" fmla="*/ 5 h 42"/>
                <a:gd name="T74" fmla="*/ 74 w 246"/>
                <a:gd name="T75" fmla="*/ 6 h 42"/>
                <a:gd name="T76" fmla="*/ 60 w 246"/>
                <a:gd name="T77" fmla="*/ 6 h 42"/>
                <a:gd name="T78" fmla="*/ 58 w 246"/>
                <a:gd name="T79" fmla="*/ 9 h 42"/>
                <a:gd name="T80" fmla="*/ 56 w 246"/>
                <a:gd name="T81" fmla="*/ 12 h 42"/>
                <a:gd name="T82" fmla="*/ 54 w 246"/>
                <a:gd name="T83" fmla="*/ 15 h 42"/>
                <a:gd name="T84" fmla="*/ 50 w 246"/>
                <a:gd name="T85" fmla="*/ 17 h 42"/>
                <a:gd name="T86" fmla="*/ 42 w 246"/>
                <a:gd name="T87" fmla="*/ 20 h 42"/>
                <a:gd name="T88" fmla="*/ 33 w 246"/>
                <a:gd name="T89" fmla="*/ 22 h 42"/>
                <a:gd name="T90" fmla="*/ 14 w 246"/>
                <a:gd name="T91" fmla="*/ 24 h 42"/>
                <a:gd name="T92" fmla="*/ 0 w 246"/>
                <a:gd name="T93" fmla="*/ 24 h 42"/>
                <a:gd name="T94" fmla="*/ 1 w 246"/>
                <a:gd name="T95" fmla="*/ 27 h 42"/>
                <a:gd name="T96" fmla="*/ 3 w 246"/>
                <a:gd name="T97" fmla="*/ 29 h 42"/>
                <a:gd name="T98" fmla="*/ 5 w 246"/>
                <a:gd name="T99" fmla="*/ 31 h 42"/>
                <a:gd name="T100" fmla="*/ 9 w 246"/>
                <a:gd name="T101" fmla="*/ 33 h 42"/>
                <a:gd name="T102" fmla="*/ 17 w 246"/>
                <a:gd name="T103" fmla="*/ 35 h 42"/>
                <a:gd name="T104" fmla="*/ 27 w 246"/>
                <a:gd name="T105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81" name="Freeform 549"/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5046663" y="1430338"/>
              <a:ext cx="63500" cy="57150"/>
            </a:xfrm>
            <a:custGeom>
              <a:avLst/>
              <a:gdLst>
                <a:gd name="T0" fmla="*/ 103 w 149"/>
                <a:gd name="T1" fmla="*/ 0 h 61"/>
                <a:gd name="T2" fmla="*/ 118 w 149"/>
                <a:gd name="T3" fmla="*/ 1 h 61"/>
                <a:gd name="T4" fmla="*/ 134 w 149"/>
                <a:gd name="T5" fmla="*/ 3 h 61"/>
                <a:gd name="T6" fmla="*/ 145 w 149"/>
                <a:gd name="T7" fmla="*/ 5 h 61"/>
                <a:gd name="T8" fmla="*/ 149 w 149"/>
                <a:gd name="T9" fmla="*/ 6 h 61"/>
                <a:gd name="T10" fmla="*/ 149 w 149"/>
                <a:gd name="T11" fmla="*/ 8 h 61"/>
                <a:gd name="T12" fmla="*/ 147 w 149"/>
                <a:gd name="T13" fmla="*/ 10 h 61"/>
                <a:gd name="T14" fmla="*/ 145 w 149"/>
                <a:gd name="T15" fmla="*/ 12 h 61"/>
                <a:gd name="T16" fmla="*/ 141 w 149"/>
                <a:gd name="T17" fmla="*/ 13 h 61"/>
                <a:gd name="T18" fmla="*/ 137 w 149"/>
                <a:gd name="T19" fmla="*/ 14 h 61"/>
                <a:gd name="T20" fmla="*/ 132 w 149"/>
                <a:gd name="T21" fmla="*/ 14 h 61"/>
                <a:gd name="T22" fmla="*/ 127 w 149"/>
                <a:gd name="T23" fmla="*/ 14 h 61"/>
                <a:gd name="T24" fmla="*/ 123 w 149"/>
                <a:gd name="T25" fmla="*/ 12 h 61"/>
                <a:gd name="T26" fmla="*/ 123 w 149"/>
                <a:gd name="T27" fmla="*/ 23 h 61"/>
                <a:gd name="T28" fmla="*/ 123 w 149"/>
                <a:gd name="T29" fmla="*/ 33 h 61"/>
                <a:gd name="T30" fmla="*/ 123 w 149"/>
                <a:gd name="T31" fmla="*/ 41 h 61"/>
                <a:gd name="T32" fmla="*/ 123 w 149"/>
                <a:gd name="T33" fmla="*/ 49 h 61"/>
                <a:gd name="T34" fmla="*/ 116 w 149"/>
                <a:gd name="T35" fmla="*/ 50 h 61"/>
                <a:gd name="T36" fmla="*/ 109 w 149"/>
                <a:gd name="T37" fmla="*/ 51 h 61"/>
                <a:gd name="T38" fmla="*/ 104 w 149"/>
                <a:gd name="T39" fmla="*/ 53 h 61"/>
                <a:gd name="T40" fmla="*/ 100 w 149"/>
                <a:gd name="T41" fmla="*/ 55 h 61"/>
                <a:gd name="T42" fmla="*/ 94 w 149"/>
                <a:gd name="T43" fmla="*/ 57 h 61"/>
                <a:gd name="T44" fmla="*/ 89 w 149"/>
                <a:gd name="T45" fmla="*/ 59 h 61"/>
                <a:gd name="T46" fmla="*/ 83 w 149"/>
                <a:gd name="T47" fmla="*/ 61 h 61"/>
                <a:gd name="T48" fmla="*/ 76 w 149"/>
                <a:gd name="T49" fmla="*/ 61 h 61"/>
                <a:gd name="T50" fmla="*/ 67 w 149"/>
                <a:gd name="T51" fmla="*/ 60 h 61"/>
                <a:gd name="T52" fmla="*/ 53 w 149"/>
                <a:gd name="T53" fmla="*/ 57 h 61"/>
                <a:gd name="T54" fmla="*/ 39 w 149"/>
                <a:gd name="T55" fmla="*/ 54 h 61"/>
                <a:gd name="T56" fmla="*/ 25 w 149"/>
                <a:gd name="T57" fmla="*/ 49 h 61"/>
                <a:gd name="T58" fmla="*/ 12 w 149"/>
                <a:gd name="T59" fmla="*/ 45 h 61"/>
                <a:gd name="T60" fmla="*/ 3 w 149"/>
                <a:gd name="T61" fmla="*/ 41 h 61"/>
                <a:gd name="T62" fmla="*/ 1 w 149"/>
                <a:gd name="T63" fmla="*/ 39 h 61"/>
                <a:gd name="T64" fmla="*/ 0 w 149"/>
                <a:gd name="T65" fmla="*/ 38 h 61"/>
                <a:gd name="T66" fmla="*/ 0 w 149"/>
                <a:gd name="T67" fmla="*/ 37 h 61"/>
                <a:gd name="T68" fmla="*/ 3 w 149"/>
                <a:gd name="T69" fmla="*/ 37 h 61"/>
                <a:gd name="T70" fmla="*/ 19 w 149"/>
                <a:gd name="T71" fmla="*/ 36 h 61"/>
                <a:gd name="T72" fmla="*/ 35 w 149"/>
                <a:gd name="T73" fmla="*/ 35 h 61"/>
                <a:gd name="T74" fmla="*/ 48 w 149"/>
                <a:gd name="T75" fmla="*/ 32 h 61"/>
                <a:gd name="T76" fmla="*/ 60 w 149"/>
                <a:gd name="T77" fmla="*/ 27 h 61"/>
                <a:gd name="T78" fmla="*/ 72 w 149"/>
                <a:gd name="T79" fmla="*/ 22 h 61"/>
                <a:gd name="T80" fmla="*/ 82 w 149"/>
                <a:gd name="T81" fmla="*/ 16 h 61"/>
                <a:gd name="T82" fmla="*/ 93 w 149"/>
                <a:gd name="T83" fmla="*/ 8 h 61"/>
                <a:gd name="T84" fmla="*/ 103 w 149"/>
                <a:gd name="T8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82" name="Freeform 550"/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5083175" y="1438275"/>
              <a:ext cx="130175" cy="57150"/>
            </a:xfrm>
            <a:custGeom>
              <a:avLst/>
              <a:gdLst>
                <a:gd name="T0" fmla="*/ 133 w 299"/>
                <a:gd name="T1" fmla="*/ 72 h 74"/>
                <a:gd name="T2" fmla="*/ 154 w 299"/>
                <a:gd name="T3" fmla="*/ 65 h 74"/>
                <a:gd name="T4" fmla="*/ 178 w 299"/>
                <a:gd name="T5" fmla="*/ 54 h 74"/>
                <a:gd name="T6" fmla="*/ 199 w 299"/>
                <a:gd name="T7" fmla="*/ 42 h 74"/>
                <a:gd name="T8" fmla="*/ 207 w 299"/>
                <a:gd name="T9" fmla="*/ 40 h 74"/>
                <a:gd name="T10" fmla="*/ 211 w 299"/>
                <a:gd name="T11" fmla="*/ 46 h 74"/>
                <a:gd name="T12" fmla="*/ 220 w 299"/>
                <a:gd name="T13" fmla="*/ 51 h 74"/>
                <a:gd name="T14" fmla="*/ 243 w 299"/>
                <a:gd name="T15" fmla="*/ 55 h 74"/>
                <a:gd name="T16" fmla="*/ 269 w 299"/>
                <a:gd name="T17" fmla="*/ 55 h 74"/>
                <a:gd name="T18" fmla="*/ 286 w 299"/>
                <a:gd name="T19" fmla="*/ 55 h 74"/>
                <a:gd name="T20" fmla="*/ 293 w 299"/>
                <a:gd name="T21" fmla="*/ 46 h 74"/>
                <a:gd name="T22" fmla="*/ 298 w 299"/>
                <a:gd name="T23" fmla="*/ 31 h 74"/>
                <a:gd name="T24" fmla="*/ 279 w 299"/>
                <a:gd name="T25" fmla="*/ 25 h 74"/>
                <a:gd name="T26" fmla="*/ 244 w 299"/>
                <a:gd name="T27" fmla="*/ 25 h 74"/>
                <a:gd name="T28" fmla="*/ 225 w 299"/>
                <a:gd name="T29" fmla="*/ 25 h 74"/>
                <a:gd name="T30" fmla="*/ 214 w 299"/>
                <a:gd name="T31" fmla="*/ 27 h 74"/>
                <a:gd name="T32" fmla="*/ 204 w 299"/>
                <a:gd name="T33" fmla="*/ 33 h 74"/>
                <a:gd name="T34" fmla="*/ 172 w 299"/>
                <a:gd name="T35" fmla="*/ 37 h 74"/>
                <a:gd name="T36" fmla="*/ 176 w 299"/>
                <a:gd name="T37" fmla="*/ 28 h 74"/>
                <a:gd name="T38" fmla="*/ 180 w 299"/>
                <a:gd name="T39" fmla="*/ 21 h 74"/>
                <a:gd name="T40" fmla="*/ 194 w 299"/>
                <a:gd name="T41" fmla="*/ 13 h 74"/>
                <a:gd name="T42" fmla="*/ 210 w 299"/>
                <a:gd name="T43" fmla="*/ 9 h 74"/>
                <a:gd name="T44" fmla="*/ 225 w 299"/>
                <a:gd name="T45" fmla="*/ 0 h 74"/>
                <a:gd name="T46" fmla="*/ 185 w 299"/>
                <a:gd name="T47" fmla="*/ 3 h 74"/>
                <a:gd name="T48" fmla="*/ 157 w 299"/>
                <a:gd name="T49" fmla="*/ 11 h 74"/>
                <a:gd name="T50" fmla="*/ 134 w 299"/>
                <a:gd name="T51" fmla="*/ 25 h 74"/>
                <a:gd name="T52" fmla="*/ 114 w 299"/>
                <a:gd name="T53" fmla="*/ 40 h 74"/>
                <a:gd name="T54" fmla="*/ 100 w 299"/>
                <a:gd name="T55" fmla="*/ 53 h 74"/>
                <a:gd name="T56" fmla="*/ 87 w 299"/>
                <a:gd name="T57" fmla="*/ 59 h 74"/>
                <a:gd name="T58" fmla="*/ 64 w 299"/>
                <a:gd name="T59" fmla="*/ 63 h 74"/>
                <a:gd name="T60" fmla="*/ 32 w 299"/>
                <a:gd name="T61" fmla="*/ 64 h 74"/>
                <a:gd name="T62" fmla="*/ 12 w 299"/>
                <a:gd name="T63" fmla="*/ 67 h 74"/>
                <a:gd name="T64" fmla="*/ 2 w 299"/>
                <a:gd name="T65" fmla="*/ 70 h 74"/>
                <a:gd name="T66" fmla="*/ 39 w 299"/>
                <a:gd name="T67" fmla="*/ 74 h 74"/>
                <a:gd name="T68" fmla="*/ 102 w 299"/>
                <a:gd name="T6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83" name="Freeform 12"/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3868738" y="1814513"/>
              <a:ext cx="171450" cy="269875"/>
            </a:xfrm>
            <a:custGeom>
              <a:avLst/>
              <a:gdLst>
                <a:gd name="T0" fmla="*/ 26 w 398"/>
                <a:gd name="T1" fmla="*/ 2 h 518"/>
                <a:gd name="T2" fmla="*/ 95 w 398"/>
                <a:gd name="T3" fmla="*/ 13 h 518"/>
                <a:gd name="T4" fmla="*/ 116 w 398"/>
                <a:gd name="T5" fmla="*/ 23 h 518"/>
                <a:gd name="T6" fmla="*/ 80 w 398"/>
                <a:gd name="T7" fmla="*/ 47 h 518"/>
                <a:gd name="T8" fmla="*/ 64 w 398"/>
                <a:gd name="T9" fmla="*/ 62 h 518"/>
                <a:gd name="T10" fmla="*/ 77 w 398"/>
                <a:gd name="T11" fmla="*/ 69 h 518"/>
                <a:gd name="T12" fmla="*/ 167 w 398"/>
                <a:gd name="T13" fmla="*/ 79 h 518"/>
                <a:gd name="T14" fmla="*/ 210 w 398"/>
                <a:gd name="T15" fmla="*/ 109 h 518"/>
                <a:gd name="T16" fmla="*/ 154 w 398"/>
                <a:gd name="T17" fmla="*/ 127 h 518"/>
                <a:gd name="T18" fmla="*/ 147 w 398"/>
                <a:gd name="T19" fmla="*/ 138 h 518"/>
                <a:gd name="T20" fmla="*/ 191 w 398"/>
                <a:gd name="T21" fmla="*/ 143 h 518"/>
                <a:gd name="T22" fmla="*/ 211 w 398"/>
                <a:gd name="T23" fmla="*/ 156 h 518"/>
                <a:gd name="T24" fmla="*/ 243 w 398"/>
                <a:gd name="T25" fmla="*/ 191 h 518"/>
                <a:gd name="T26" fmla="*/ 258 w 398"/>
                <a:gd name="T27" fmla="*/ 212 h 518"/>
                <a:gd name="T28" fmla="*/ 260 w 398"/>
                <a:gd name="T29" fmla="*/ 237 h 518"/>
                <a:gd name="T30" fmla="*/ 272 w 398"/>
                <a:gd name="T31" fmla="*/ 254 h 518"/>
                <a:gd name="T32" fmla="*/ 286 w 398"/>
                <a:gd name="T33" fmla="*/ 279 h 518"/>
                <a:gd name="T34" fmla="*/ 306 w 398"/>
                <a:gd name="T35" fmla="*/ 297 h 518"/>
                <a:gd name="T36" fmla="*/ 327 w 398"/>
                <a:gd name="T37" fmla="*/ 320 h 518"/>
                <a:gd name="T38" fmla="*/ 346 w 398"/>
                <a:gd name="T39" fmla="*/ 337 h 518"/>
                <a:gd name="T40" fmla="*/ 370 w 398"/>
                <a:gd name="T41" fmla="*/ 341 h 518"/>
                <a:gd name="T42" fmla="*/ 396 w 398"/>
                <a:gd name="T43" fmla="*/ 365 h 518"/>
                <a:gd name="T44" fmla="*/ 395 w 398"/>
                <a:gd name="T45" fmla="*/ 395 h 518"/>
                <a:gd name="T46" fmla="*/ 382 w 398"/>
                <a:gd name="T47" fmla="*/ 404 h 518"/>
                <a:gd name="T48" fmla="*/ 367 w 398"/>
                <a:gd name="T49" fmla="*/ 415 h 518"/>
                <a:gd name="T50" fmla="*/ 368 w 398"/>
                <a:gd name="T51" fmla="*/ 426 h 518"/>
                <a:gd name="T52" fmla="*/ 376 w 398"/>
                <a:gd name="T53" fmla="*/ 443 h 518"/>
                <a:gd name="T54" fmla="*/ 359 w 398"/>
                <a:gd name="T55" fmla="*/ 463 h 518"/>
                <a:gd name="T56" fmla="*/ 146 w 398"/>
                <a:gd name="T57" fmla="*/ 500 h 518"/>
                <a:gd name="T58" fmla="*/ 68 w 398"/>
                <a:gd name="T59" fmla="*/ 508 h 518"/>
                <a:gd name="T60" fmla="*/ 53 w 398"/>
                <a:gd name="T61" fmla="*/ 518 h 518"/>
                <a:gd name="T62" fmla="*/ 58 w 398"/>
                <a:gd name="T63" fmla="*/ 493 h 518"/>
                <a:gd name="T64" fmla="*/ 71 w 398"/>
                <a:gd name="T65" fmla="*/ 476 h 518"/>
                <a:gd name="T66" fmla="*/ 114 w 398"/>
                <a:gd name="T67" fmla="*/ 458 h 518"/>
                <a:gd name="T68" fmla="*/ 172 w 398"/>
                <a:gd name="T69" fmla="*/ 439 h 518"/>
                <a:gd name="T70" fmla="*/ 179 w 398"/>
                <a:gd name="T71" fmla="*/ 426 h 518"/>
                <a:gd name="T72" fmla="*/ 171 w 398"/>
                <a:gd name="T73" fmla="*/ 434 h 518"/>
                <a:gd name="T74" fmla="*/ 111 w 398"/>
                <a:gd name="T75" fmla="*/ 432 h 518"/>
                <a:gd name="T76" fmla="*/ 76 w 398"/>
                <a:gd name="T77" fmla="*/ 420 h 518"/>
                <a:gd name="T78" fmla="*/ 77 w 398"/>
                <a:gd name="T79" fmla="*/ 402 h 518"/>
                <a:gd name="T80" fmla="*/ 95 w 398"/>
                <a:gd name="T81" fmla="*/ 391 h 518"/>
                <a:gd name="T82" fmla="*/ 87 w 398"/>
                <a:gd name="T83" fmla="*/ 352 h 518"/>
                <a:gd name="T84" fmla="*/ 105 w 398"/>
                <a:gd name="T85" fmla="*/ 329 h 518"/>
                <a:gd name="T86" fmla="*/ 154 w 398"/>
                <a:gd name="T87" fmla="*/ 309 h 518"/>
                <a:gd name="T88" fmla="*/ 172 w 398"/>
                <a:gd name="T89" fmla="*/ 291 h 518"/>
                <a:gd name="T90" fmla="*/ 148 w 398"/>
                <a:gd name="T91" fmla="*/ 271 h 518"/>
                <a:gd name="T92" fmla="*/ 139 w 398"/>
                <a:gd name="T93" fmla="*/ 247 h 518"/>
                <a:gd name="T94" fmla="*/ 94 w 398"/>
                <a:gd name="T95" fmla="*/ 239 h 518"/>
                <a:gd name="T96" fmla="*/ 80 w 398"/>
                <a:gd name="T97" fmla="*/ 216 h 518"/>
                <a:gd name="T98" fmla="*/ 90 w 398"/>
                <a:gd name="T99" fmla="*/ 192 h 518"/>
                <a:gd name="T100" fmla="*/ 100 w 398"/>
                <a:gd name="T101" fmla="*/ 168 h 518"/>
                <a:gd name="T102" fmla="*/ 73 w 398"/>
                <a:gd name="T103" fmla="*/ 186 h 518"/>
                <a:gd name="T104" fmla="*/ 22 w 398"/>
                <a:gd name="T105" fmla="*/ 162 h 518"/>
                <a:gd name="T106" fmla="*/ 20 w 398"/>
                <a:gd name="T107" fmla="*/ 142 h 518"/>
                <a:gd name="T108" fmla="*/ 14 w 398"/>
                <a:gd name="T109" fmla="*/ 131 h 518"/>
                <a:gd name="T110" fmla="*/ 20 w 398"/>
                <a:gd name="T111" fmla="*/ 63 h 518"/>
                <a:gd name="T112" fmla="*/ 19 w 398"/>
                <a:gd name="T113" fmla="*/ 49 h 518"/>
                <a:gd name="T114" fmla="*/ 4 w 398"/>
                <a:gd name="T115" fmla="*/ 40 h 518"/>
                <a:gd name="T116" fmla="*/ 20 w 398"/>
                <a:gd name="T117" fmla="*/ 19 h 518"/>
                <a:gd name="T118" fmla="*/ 3 w 398"/>
                <a:gd name="T119" fmla="*/ 9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endParaRPr lang="de-DE" sz="3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84" name="Textfeld 383"/>
            <p:cNvSpPr txBox="1"/>
            <p:nvPr/>
          </p:nvSpPr>
          <p:spPr>
            <a:xfrm>
              <a:off x="4357113" y="1084065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ts val="2200"/>
                </a:lnSpc>
              </a:pPr>
              <a:endParaRPr lang="de-DE" sz="300" dirty="0"/>
            </a:p>
          </p:txBody>
        </p:sp>
        <p:sp>
          <p:nvSpPr>
            <p:cNvPr id="385" name="Textfeld 384"/>
            <p:cNvSpPr txBox="1"/>
            <p:nvPr/>
          </p:nvSpPr>
          <p:spPr>
            <a:xfrm>
              <a:off x="7556769" y="2416370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ts val="2200"/>
                </a:lnSpc>
              </a:pPr>
              <a:endParaRPr lang="de-DE" sz="300" dirty="0"/>
            </a:p>
          </p:txBody>
        </p:sp>
        <p:sp>
          <p:nvSpPr>
            <p:cNvPr id="386" name="Freeform 16"/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4148138" y="1914790"/>
              <a:ext cx="277812" cy="248973"/>
            </a:xfrm>
            <a:custGeom>
              <a:avLst/>
              <a:gdLst>
                <a:gd name="T0" fmla="*/ 426 w 438"/>
                <a:gd name="T1" fmla="*/ 190 h 451"/>
                <a:gd name="T2" fmla="*/ 408 w 438"/>
                <a:gd name="T3" fmla="*/ 128 h 451"/>
                <a:gd name="T4" fmla="*/ 387 w 438"/>
                <a:gd name="T5" fmla="*/ 85 h 451"/>
                <a:gd name="T6" fmla="*/ 367 w 438"/>
                <a:gd name="T7" fmla="*/ 62 h 451"/>
                <a:gd name="T8" fmla="*/ 356 w 438"/>
                <a:gd name="T9" fmla="*/ 58 h 451"/>
                <a:gd name="T10" fmla="*/ 335 w 438"/>
                <a:gd name="T11" fmla="*/ 45 h 451"/>
                <a:gd name="T12" fmla="*/ 314 w 438"/>
                <a:gd name="T13" fmla="*/ 38 h 451"/>
                <a:gd name="T14" fmla="*/ 293 w 438"/>
                <a:gd name="T15" fmla="*/ 38 h 451"/>
                <a:gd name="T16" fmla="*/ 276 w 438"/>
                <a:gd name="T17" fmla="*/ 42 h 451"/>
                <a:gd name="T18" fmla="*/ 251 w 438"/>
                <a:gd name="T19" fmla="*/ 58 h 451"/>
                <a:gd name="T20" fmla="*/ 235 w 438"/>
                <a:gd name="T21" fmla="*/ 67 h 451"/>
                <a:gd name="T22" fmla="*/ 217 w 438"/>
                <a:gd name="T23" fmla="*/ 66 h 451"/>
                <a:gd name="T24" fmla="*/ 174 w 438"/>
                <a:gd name="T25" fmla="*/ 37 h 451"/>
                <a:gd name="T26" fmla="*/ 113 w 438"/>
                <a:gd name="T27" fmla="*/ 0 h 451"/>
                <a:gd name="T28" fmla="*/ 95 w 438"/>
                <a:gd name="T29" fmla="*/ 23 h 451"/>
                <a:gd name="T30" fmla="*/ 93 w 438"/>
                <a:gd name="T31" fmla="*/ 43 h 451"/>
                <a:gd name="T32" fmla="*/ 98 w 438"/>
                <a:gd name="T33" fmla="*/ 52 h 451"/>
                <a:gd name="T34" fmla="*/ 119 w 438"/>
                <a:gd name="T35" fmla="*/ 69 h 451"/>
                <a:gd name="T36" fmla="*/ 99 w 438"/>
                <a:gd name="T37" fmla="*/ 73 h 451"/>
                <a:gd name="T38" fmla="*/ 66 w 438"/>
                <a:gd name="T39" fmla="*/ 93 h 451"/>
                <a:gd name="T40" fmla="*/ 58 w 438"/>
                <a:gd name="T41" fmla="*/ 119 h 451"/>
                <a:gd name="T42" fmla="*/ 45 w 438"/>
                <a:gd name="T43" fmla="*/ 138 h 451"/>
                <a:gd name="T44" fmla="*/ 35 w 438"/>
                <a:gd name="T45" fmla="*/ 156 h 451"/>
                <a:gd name="T46" fmla="*/ 33 w 438"/>
                <a:gd name="T47" fmla="*/ 179 h 451"/>
                <a:gd name="T48" fmla="*/ 7 w 438"/>
                <a:gd name="T49" fmla="*/ 238 h 451"/>
                <a:gd name="T50" fmla="*/ 15 w 438"/>
                <a:gd name="T51" fmla="*/ 246 h 451"/>
                <a:gd name="T52" fmla="*/ 26 w 438"/>
                <a:gd name="T53" fmla="*/ 247 h 451"/>
                <a:gd name="T54" fmla="*/ 33 w 438"/>
                <a:gd name="T55" fmla="*/ 346 h 451"/>
                <a:gd name="T56" fmla="*/ 93 w 438"/>
                <a:gd name="T57" fmla="*/ 353 h 451"/>
                <a:gd name="T58" fmla="*/ 104 w 438"/>
                <a:gd name="T59" fmla="*/ 376 h 451"/>
                <a:gd name="T60" fmla="*/ 89 w 438"/>
                <a:gd name="T61" fmla="*/ 425 h 451"/>
                <a:gd name="T62" fmla="*/ 109 w 438"/>
                <a:gd name="T63" fmla="*/ 447 h 451"/>
                <a:gd name="T64" fmla="*/ 152 w 438"/>
                <a:gd name="T65" fmla="*/ 447 h 451"/>
                <a:gd name="T66" fmla="*/ 205 w 438"/>
                <a:gd name="T67" fmla="*/ 444 h 451"/>
                <a:gd name="T68" fmla="*/ 276 w 438"/>
                <a:gd name="T69" fmla="*/ 446 h 451"/>
                <a:gd name="T70" fmla="*/ 343 w 438"/>
                <a:gd name="T71" fmla="*/ 442 h 451"/>
                <a:gd name="T72" fmla="*/ 372 w 438"/>
                <a:gd name="T73" fmla="*/ 432 h 451"/>
                <a:gd name="T74" fmla="*/ 359 w 438"/>
                <a:gd name="T75" fmla="*/ 413 h 451"/>
                <a:gd name="T76" fmla="*/ 369 w 438"/>
                <a:gd name="T77" fmla="*/ 403 h 451"/>
                <a:gd name="T78" fmla="*/ 372 w 438"/>
                <a:gd name="T79" fmla="*/ 382 h 451"/>
                <a:gd name="T80" fmla="*/ 380 w 438"/>
                <a:gd name="T81" fmla="*/ 367 h 451"/>
                <a:gd name="T82" fmla="*/ 343 w 438"/>
                <a:gd name="T83" fmla="*/ 344 h 451"/>
                <a:gd name="T84" fmla="*/ 325 w 438"/>
                <a:gd name="T85" fmla="*/ 323 h 451"/>
                <a:gd name="T86" fmla="*/ 311 w 438"/>
                <a:gd name="T87" fmla="*/ 294 h 451"/>
                <a:gd name="T88" fmla="*/ 294 w 438"/>
                <a:gd name="T89" fmla="*/ 277 h 451"/>
                <a:gd name="T90" fmla="*/ 314 w 438"/>
                <a:gd name="T91" fmla="*/ 275 h 451"/>
                <a:gd name="T92" fmla="*/ 346 w 438"/>
                <a:gd name="T93" fmla="*/ 271 h 451"/>
                <a:gd name="T94" fmla="*/ 369 w 438"/>
                <a:gd name="T95" fmla="*/ 260 h 451"/>
                <a:gd name="T96" fmla="*/ 407 w 438"/>
                <a:gd name="T97" fmla="*/ 240 h 451"/>
                <a:gd name="T98" fmla="*/ 438 w 438"/>
                <a:gd name="T99" fmla="*/ 235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anchor="ctr"/>
            <a:lstStyle/>
            <a:p>
              <a:pPr algn="ctr"/>
              <a:endParaRPr lang="de-DE" sz="3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87" name="Textfeld 386"/>
            <p:cNvSpPr txBox="1"/>
            <p:nvPr/>
          </p:nvSpPr>
          <p:spPr>
            <a:xfrm>
              <a:off x="1558977" y="4032354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ts val="2200"/>
                </a:lnSpc>
              </a:pPr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2798901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Design:</a:t>
            </a:r>
            <a:br>
              <a:rPr lang="de-CH" dirty="0" smtClean="0"/>
            </a:br>
            <a:r>
              <a:rPr lang="de-CH" dirty="0" err="1" smtClean="0"/>
              <a:t>Within-subject</a:t>
            </a:r>
            <a:r>
              <a:rPr lang="de-CH" dirty="0" smtClean="0"/>
              <a:t> </a:t>
            </a:r>
            <a:r>
              <a:rPr lang="de-CH" dirty="0" err="1" smtClean="0"/>
              <a:t>manipulation</a:t>
            </a:r>
            <a:r>
              <a:rPr lang="de-CH" dirty="0" smtClean="0"/>
              <a:t> </a:t>
            </a:r>
            <a:r>
              <a:rPr lang="de-CH" dirty="0" err="1" smtClean="0"/>
              <a:t>of</a:t>
            </a:r>
            <a:r>
              <a:rPr lang="de-CH" dirty="0" smtClean="0"/>
              <a:t> </a:t>
            </a:r>
            <a:r>
              <a:rPr lang="de-CH" dirty="0" err="1" smtClean="0"/>
              <a:t>risk</a:t>
            </a:r>
            <a:r>
              <a:rPr lang="de-CH" dirty="0" smtClean="0"/>
              <a:t> </a:t>
            </a:r>
            <a:r>
              <a:rPr lang="de-CH" dirty="0" err="1" smtClean="0"/>
              <a:t>terminology</a:t>
            </a:r>
            <a:endParaRPr lang="de-CH" dirty="0"/>
          </a:p>
        </p:txBody>
      </p:sp>
      <p:sp>
        <p:nvSpPr>
          <p:cNvPr id="8" name="Inhaltsplatzhalt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/>
            <a:endParaRPr lang="en-US" i="1" dirty="0" smtClean="0"/>
          </a:p>
          <a:p>
            <a:pPr algn="ctr"/>
            <a:endParaRPr lang="en-US" i="1" dirty="0"/>
          </a:p>
          <a:p>
            <a:pPr algn="ctr"/>
            <a:r>
              <a:rPr lang="en-US" i="1" dirty="0" smtClean="0"/>
              <a:t>“How do you judge the </a:t>
            </a:r>
            <a:r>
              <a:rPr lang="en-US" b="1" i="1" dirty="0" smtClean="0"/>
              <a:t>risk </a:t>
            </a:r>
            <a:r>
              <a:rPr lang="en-US" i="1" dirty="0" smtClean="0"/>
              <a:t>associated with this stock?”</a:t>
            </a:r>
          </a:p>
          <a:p>
            <a:pPr algn="ctr"/>
            <a:endParaRPr lang="en-US" i="1" dirty="0"/>
          </a:p>
          <a:p>
            <a:pPr lvl="0" algn="ctr"/>
            <a:r>
              <a:rPr lang="en-US" i="1" dirty="0"/>
              <a:t>“</a:t>
            </a:r>
            <a:r>
              <a:rPr lang="en-US" i="1" dirty="0" smtClean="0"/>
              <a:t>How do you judge the </a:t>
            </a:r>
            <a:r>
              <a:rPr lang="en-US" b="1" i="1" dirty="0" smtClean="0">
                <a:solidFill>
                  <a:schemeClr val="accent2"/>
                </a:solidFill>
              </a:rPr>
              <a:t>risk (measured as variance) </a:t>
            </a:r>
            <a:r>
              <a:rPr lang="en-US" i="1" dirty="0" smtClean="0"/>
              <a:t>associated with this stock?”</a:t>
            </a:r>
          </a:p>
          <a:p>
            <a:pPr lvl="0" algn="ctr"/>
            <a:endParaRPr lang="en-US" i="1" dirty="0" smtClean="0"/>
          </a:p>
          <a:p>
            <a:pPr lvl="0" algn="ctr"/>
            <a:r>
              <a:rPr lang="en-US" i="1" dirty="0" smtClean="0"/>
              <a:t>“How do you judge the  </a:t>
            </a:r>
            <a:r>
              <a:rPr lang="en-US" b="1" i="1" dirty="0" smtClean="0">
                <a:solidFill>
                  <a:schemeClr val="accent2"/>
                </a:solidFill>
              </a:rPr>
              <a:t>fluctuation</a:t>
            </a:r>
            <a:r>
              <a:rPr lang="en-US" i="1" dirty="0" smtClean="0"/>
              <a:t> associated with this stock?”</a:t>
            </a:r>
          </a:p>
          <a:p>
            <a:pPr lvl="0" algn="ctr"/>
            <a:endParaRPr lang="en-US" i="1" dirty="0" smtClean="0"/>
          </a:p>
          <a:p>
            <a:pPr lvl="0"/>
            <a:endParaRPr lang="en-US" i="1" dirty="0"/>
          </a:p>
          <a:p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Risk is not just perceived as variance, Hoffart, Jarecki, Rieskamp, 21. Nov 2017</a:t>
            </a:r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GB" smtClean="0"/>
              <a:t>University of Basel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en-GB" smtClean="0"/>
              <a:pPr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95316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 smtClean="0"/>
              <a:t>Results</a:t>
            </a:r>
            <a:r>
              <a:rPr lang="de-CH" dirty="0" smtClean="0"/>
              <a:t>:</a:t>
            </a:r>
            <a:br>
              <a:rPr lang="de-CH" dirty="0" smtClean="0"/>
            </a:br>
            <a:r>
              <a:rPr lang="de-CH" dirty="0" err="1" smtClean="0"/>
              <a:t>Replicated</a:t>
            </a:r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Risk is not just perceived as variance, Hoffart, Jarecki, Rieskamp, 21. Nov 2017</a:t>
            </a:r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GB" smtClean="0"/>
              <a:t>University of Basel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en-GB" smtClean="0"/>
              <a:pPr/>
              <a:t>18</a:t>
            </a:fld>
            <a:endParaRPr lang="en-GB" dirty="0"/>
          </a:p>
        </p:txBody>
      </p:sp>
      <p:pic>
        <p:nvPicPr>
          <p:cNvPr id="6" name="Bild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39550" y="1628800"/>
            <a:ext cx="8742857" cy="30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789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2800" b="0" dirty="0" smtClean="0"/>
              <a:t>“Risk” is no uniform construct</a:t>
            </a:r>
            <a:br>
              <a:rPr lang="en-US" sz="2800" b="0" dirty="0" smtClean="0"/>
            </a:br>
            <a:r>
              <a:rPr lang="en-US" sz="2800" b="0" dirty="0" smtClean="0"/>
              <a:t/>
            </a:r>
            <a:br>
              <a:rPr lang="en-US" sz="2800" b="0" dirty="0" smtClean="0"/>
            </a:br>
            <a:r>
              <a:rPr lang="en-US" sz="2800" b="0" i="1" dirty="0" smtClean="0"/>
              <a:t>Risk</a:t>
            </a:r>
            <a:r>
              <a:rPr lang="en-US" sz="2800" b="0" dirty="0" smtClean="0"/>
              <a:t> perceived as </a:t>
            </a:r>
            <a:r>
              <a:rPr lang="en-US" sz="2800" dirty="0" smtClean="0"/>
              <a:t>cost</a:t>
            </a:r>
            <a:r>
              <a:rPr lang="en-US" sz="2800" b="0" dirty="0" smtClean="0"/>
              <a:t> more than as variance</a:t>
            </a:r>
            <a:br>
              <a:rPr lang="en-US" sz="2800" b="0" dirty="0" smtClean="0"/>
            </a:br>
            <a:r>
              <a:rPr lang="en-US" sz="2800" b="0" dirty="0"/>
              <a:t/>
            </a:r>
            <a:br>
              <a:rPr lang="en-US" sz="2800" b="0" dirty="0"/>
            </a:br>
            <a:r>
              <a:rPr lang="en-US" sz="2800" b="0" i="1" dirty="0" smtClean="0"/>
              <a:t>Fluctuation</a:t>
            </a:r>
            <a:r>
              <a:rPr lang="en-US" sz="2800" b="0" dirty="0" smtClean="0"/>
              <a:t> as a more accurate alternative given individuals </a:t>
            </a:r>
            <a:r>
              <a:rPr lang="en-US" sz="2800" b="0" smtClean="0"/>
              <a:t>possess basic knowledge</a:t>
            </a:r>
            <a:r>
              <a:rPr lang="en-US" sz="2800" b="0" dirty="0" smtClean="0"/>
              <a:t/>
            </a:r>
            <a:br>
              <a:rPr lang="en-US" sz="2800" b="0" dirty="0" smtClean="0"/>
            </a:br>
            <a:endParaRPr lang="en-GB" sz="2800" b="0" dirty="0"/>
          </a:p>
        </p:txBody>
      </p:sp>
      <p:sp>
        <p:nvSpPr>
          <p:cNvPr id="3" name="Textfeld 2"/>
          <p:cNvSpPr txBox="1"/>
          <p:nvPr/>
        </p:nvSpPr>
        <p:spPr>
          <a:xfrm>
            <a:off x="2988370" y="5445224"/>
            <a:ext cx="3024386" cy="57606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ts val="2200"/>
              </a:lnSpc>
            </a:pPr>
            <a:r>
              <a:rPr lang="de-CH" dirty="0" smtClean="0">
                <a:hlinkClick r:id="rId2"/>
              </a:rPr>
              <a:t>Jana.jarecki@unibas.ch</a:t>
            </a:r>
            <a:endParaRPr lang="de-CH" dirty="0" smtClean="0"/>
          </a:p>
          <a:p>
            <a:pPr algn="ctr">
              <a:lnSpc>
                <a:spcPts val="2200"/>
              </a:lnSpc>
            </a:pPr>
            <a:r>
              <a:rPr lang="de-CH" dirty="0" smtClean="0">
                <a:hlinkClick r:id="rId3"/>
              </a:rPr>
              <a:t>Janine.Hoffart@unibas.ch</a:t>
            </a:r>
            <a:endParaRPr lang="de-CH" dirty="0" smtClean="0"/>
          </a:p>
          <a:p>
            <a:pPr algn="ctr">
              <a:lnSpc>
                <a:spcPts val="2200"/>
              </a:lnSpc>
            </a:pPr>
            <a:endParaRPr lang="de-CH" dirty="0" smtClean="0"/>
          </a:p>
        </p:txBody>
      </p:sp>
    </p:spTree>
    <p:extLst>
      <p:ext uri="{BB962C8B-B14F-4D97-AF65-F5344CB8AC3E}">
        <p14:creationId xmlns:p14="http://schemas.microsoft.com/office/powerpoint/2010/main" val="2025176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Observation:</a:t>
            </a:r>
            <a:br>
              <a:rPr lang="en-GB" dirty="0" smtClean="0"/>
            </a:br>
            <a:r>
              <a:rPr lang="en-GB" dirty="0" smtClean="0"/>
              <a:t>Risk/Variance and Return tend to be Positively Related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Risk is not just perceived as variance, Hoffart, Jarecki, Rieskamp, 21. Nov 2017</a:t>
            </a:r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GB" smtClean="0"/>
              <a:t>University of Basel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b="1" dirty="0" smtClean="0"/>
              <a:t>SMI 20</a:t>
            </a:r>
          </a:p>
          <a:p>
            <a:r>
              <a:rPr lang="en-GB" dirty="0" smtClean="0"/>
              <a:t>Positive Relationship between variance and expected value	</a:t>
            </a:r>
            <a:endParaRPr lang="en-GB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/>
      </p:sp>
      <p:pic>
        <p:nvPicPr>
          <p:cNvPr id="9" name="Bild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62357" y="1520824"/>
            <a:ext cx="4331723" cy="395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0755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Paradox:</a:t>
            </a:r>
            <a:br>
              <a:rPr lang="de-CH" dirty="0" smtClean="0"/>
            </a:br>
            <a:r>
              <a:rPr lang="de-CH" dirty="0" err="1" smtClean="0"/>
              <a:t>When</a:t>
            </a:r>
            <a:r>
              <a:rPr lang="de-CH" dirty="0" smtClean="0"/>
              <a:t> </a:t>
            </a:r>
            <a:r>
              <a:rPr lang="de-CH" dirty="0" err="1" smtClean="0"/>
              <a:t>asked</a:t>
            </a:r>
            <a:r>
              <a:rPr lang="de-CH" dirty="0" smtClean="0"/>
              <a:t> </a:t>
            </a:r>
            <a:r>
              <a:rPr lang="de-CH" dirty="0" err="1" smtClean="0"/>
              <a:t>to</a:t>
            </a:r>
            <a:r>
              <a:rPr lang="de-CH" dirty="0" smtClean="0"/>
              <a:t> </a:t>
            </a:r>
            <a:r>
              <a:rPr lang="de-CH" dirty="0" err="1" smtClean="0"/>
              <a:t>judge</a:t>
            </a:r>
            <a:r>
              <a:rPr lang="de-CH" dirty="0" smtClean="0"/>
              <a:t> </a:t>
            </a:r>
            <a:r>
              <a:rPr lang="de-CH" dirty="0" err="1" smtClean="0"/>
              <a:t>the</a:t>
            </a:r>
            <a:r>
              <a:rPr lang="de-CH" dirty="0" smtClean="0"/>
              <a:t> </a:t>
            </a:r>
            <a:r>
              <a:rPr lang="de-CH" dirty="0" err="1" smtClean="0"/>
              <a:t>risk</a:t>
            </a:r>
            <a:r>
              <a:rPr lang="de-CH" dirty="0" smtClean="0"/>
              <a:t> </a:t>
            </a:r>
            <a:r>
              <a:rPr lang="de-CH" dirty="0" err="1" smtClean="0"/>
              <a:t>of</a:t>
            </a:r>
            <a:r>
              <a:rPr lang="de-CH" dirty="0" smtClean="0"/>
              <a:t> </a:t>
            </a:r>
            <a:r>
              <a:rPr lang="de-CH" dirty="0" err="1" smtClean="0"/>
              <a:t>investment</a:t>
            </a:r>
            <a:r>
              <a:rPr lang="de-CH" dirty="0" smtClean="0"/>
              <a:t> </a:t>
            </a:r>
            <a:r>
              <a:rPr lang="de-CH" dirty="0" err="1" smtClean="0"/>
              <a:t>options</a:t>
            </a:r>
            <a:endParaRPr lang="de-CH" dirty="0"/>
          </a:p>
        </p:txBody>
      </p:sp>
      <p:sp>
        <p:nvSpPr>
          <p:cNvPr id="9" name="Inhaltsplatzhalt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 indent="0" algn="ctr">
              <a:buNone/>
            </a:pPr>
            <a:endParaRPr lang="en-US" dirty="0" smtClean="0"/>
          </a:p>
          <a:p>
            <a:pPr lvl="1" indent="0" algn="ctr">
              <a:buNone/>
            </a:pPr>
            <a:endParaRPr lang="en-US" dirty="0"/>
          </a:p>
          <a:p>
            <a:pPr lvl="1" indent="0" algn="ctr">
              <a:buNone/>
            </a:pPr>
            <a:r>
              <a:rPr lang="en-US" i="1" dirty="0" smtClean="0"/>
              <a:t>“How risky is it to invest in … ?”</a:t>
            </a:r>
            <a:endParaRPr lang="en-US" i="1" dirty="0"/>
          </a:p>
          <a:p>
            <a:pPr lvl="1" indent="0" algn="ctr">
              <a:buNone/>
            </a:pPr>
            <a:endParaRPr lang="en-US" dirty="0"/>
          </a:p>
          <a:p>
            <a:pPr lvl="1" indent="0" algn="ctr">
              <a:buNone/>
            </a:pPr>
            <a:endParaRPr lang="en-US" dirty="0"/>
          </a:p>
          <a:p>
            <a:pPr lvl="1" indent="0" algn="ctr">
              <a:buNone/>
            </a:pPr>
            <a:endParaRPr lang="en-US" dirty="0"/>
          </a:p>
          <a:p>
            <a:pPr lvl="1" indent="0" algn="ctr">
              <a:buNone/>
            </a:pPr>
            <a:r>
              <a:rPr lang="en-US" dirty="0"/>
              <a:t>Far below </a:t>
            </a:r>
            <a:r>
              <a:rPr lang="en-US" dirty="0" smtClean="0"/>
              <a:t>average      </a:t>
            </a:r>
            <a:r>
              <a:rPr lang="en-US" dirty="0" smtClean="0">
                <a:latin typeface="Yu Gothic UI Light" panose="020B0300000000000000" pitchFamily="34" charset="-128"/>
                <a:ea typeface="Yu Gothic UI Light" panose="020B0300000000000000" pitchFamily="34" charset="-128"/>
              </a:rPr>
              <a:t>O   </a:t>
            </a:r>
            <a:r>
              <a:rPr lang="en-US" dirty="0" err="1" smtClean="0">
                <a:latin typeface="Yu Gothic UI Light" panose="020B0300000000000000" pitchFamily="34" charset="-128"/>
                <a:ea typeface="Yu Gothic UI Light" panose="020B0300000000000000" pitchFamily="34" charset="-128"/>
              </a:rPr>
              <a:t>O</a:t>
            </a:r>
            <a:r>
              <a:rPr lang="en-US" dirty="0" smtClean="0">
                <a:latin typeface="Yu Gothic UI Light" panose="020B0300000000000000" pitchFamily="34" charset="-128"/>
                <a:ea typeface="Yu Gothic UI Light" panose="020B0300000000000000" pitchFamily="34" charset="-128"/>
              </a:rPr>
              <a:t>   </a:t>
            </a:r>
            <a:r>
              <a:rPr lang="en-US" dirty="0" err="1" smtClean="0">
                <a:latin typeface="Yu Gothic UI Light" panose="020B0300000000000000" pitchFamily="34" charset="-128"/>
                <a:ea typeface="Yu Gothic UI Light" panose="020B0300000000000000" pitchFamily="34" charset="-128"/>
              </a:rPr>
              <a:t>O</a:t>
            </a:r>
            <a:r>
              <a:rPr lang="en-US" dirty="0" smtClean="0">
                <a:latin typeface="Yu Gothic UI Light" panose="020B0300000000000000" pitchFamily="34" charset="-128"/>
                <a:ea typeface="Yu Gothic UI Light" panose="020B0300000000000000" pitchFamily="34" charset="-128"/>
              </a:rPr>
              <a:t>   </a:t>
            </a:r>
            <a:r>
              <a:rPr lang="en-US" dirty="0" err="1" smtClean="0">
                <a:latin typeface="Yu Gothic UI Light" panose="020B0300000000000000" pitchFamily="34" charset="-128"/>
                <a:ea typeface="Yu Gothic UI Light" panose="020B0300000000000000" pitchFamily="34" charset="-128"/>
              </a:rPr>
              <a:t>O</a:t>
            </a:r>
            <a:r>
              <a:rPr lang="en-US" dirty="0" smtClean="0">
                <a:latin typeface="Yu Gothic UI Light" panose="020B0300000000000000" pitchFamily="34" charset="-128"/>
                <a:ea typeface="Yu Gothic UI Light" panose="020B0300000000000000" pitchFamily="34" charset="-128"/>
              </a:rPr>
              <a:t>   </a:t>
            </a:r>
            <a:r>
              <a:rPr lang="en-US" dirty="0" err="1" smtClean="0">
                <a:latin typeface="Yu Gothic UI Light" panose="020B0300000000000000" pitchFamily="34" charset="-128"/>
                <a:ea typeface="Yu Gothic UI Light" panose="020B0300000000000000" pitchFamily="34" charset="-128"/>
              </a:rPr>
              <a:t>O</a:t>
            </a:r>
            <a:r>
              <a:rPr lang="en-US" dirty="0" smtClean="0">
                <a:latin typeface="Yu Gothic UI Light" panose="020B0300000000000000" pitchFamily="34" charset="-128"/>
                <a:ea typeface="Yu Gothic UI Light" panose="020B0300000000000000" pitchFamily="34" charset="-128"/>
              </a:rPr>
              <a:t>    </a:t>
            </a:r>
            <a:r>
              <a:rPr lang="en-US" dirty="0" smtClean="0"/>
              <a:t>Far </a:t>
            </a:r>
            <a:r>
              <a:rPr lang="en-US" dirty="0"/>
              <a:t>above average</a:t>
            </a:r>
          </a:p>
          <a:p>
            <a:pPr algn="ctr"/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Risk is not just perceived as variance, Hoffart, Jarecki, Rieskamp, 21. Nov 2017</a:t>
            </a:r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GB" smtClean="0"/>
              <a:t>University of Basel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10" name="Rechteck 9"/>
          <p:cNvSpPr/>
          <p:nvPr/>
        </p:nvSpPr>
        <p:spPr>
          <a:xfrm>
            <a:off x="4572000" y="6078727"/>
            <a:ext cx="4572000" cy="37446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>
              <a:lnSpc>
                <a:spcPts val="2200"/>
              </a:lnSpc>
            </a:pPr>
            <a:r>
              <a:rPr lang="en-US" sz="1200" dirty="0">
                <a:solidFill>
                  <a:schemeClr val="accent2"/>
                </a:solidFill>
                <a:latin typeface="Andale Mono" charset="0"/>
                <a:ea typeface="Andale Mono" charset="0"/>
                <a:cs typeface="Andale Mono" charset="0"/>
              </a:rPr>
              <a:t>e.g., </a:t>
            </a:r>
            <a:r>
              <a:rPr lang="en-US" sz="1200" dirty="0" err="1">
                <a:solidFill>
                  <a:schemeClr val="accent2"/>
                </a:solidFill>
                <a:latin typeface="Andale Mono" charset="0"/>
                <a:ea typeface="Andale Mono" charset="0"/>
                <a:cs typeface="Andale Mono" charset="0"/>
              </a:rPr>
              <a:t>Kempf</a:t>
            </a:r>
            <a:r>
              <a:rPr lang="en-US" sz="1200" dirty="0">
                <a:solidFill>
                  <a:schemeClr val="accent2"/>
                </a:solidFill>
                <a:latin typeface="Andale Mono" charset="0"/>
                <a:ea typeface="Andale Mono" charset="0"/>
                <a:cs typeface="Andale Mono" charset="0"/>
              </a:rPr>
              <a:t>, </a:t>
            </a:r>
            <a:r>
              <a:rPr lang="en-US" sz="1200" dirty="0" err="1">
                <a:solidFill>
                  <a:schemeClr val="accent2"/>
                </a:solidFill>
                <a:latin typeface="Andale Mono" charset="0"/>
                <a:ea typeface="Andale Mono" charset="0"/>
                <a:cs typeface="Andale Mono" charset="0"/>
              </a:rPr>
              <a:t>Merkle</a:t>
            </a:r>
            <a:r>
              <a:rPr lang="en-US" sz="1200" dirty="0">
                <a:solidFill>
                  <a:schemeClr val="accent2"/>
                </a:solidFill>
                <a:latin typeface="Andale Mono" charset="0"/>
                <a:ea typeface="Andale Mono" charset="0"/>
                <a:cs typeface="Andale Mono" charset="0"/>
              </a:rPr>
              <a:t> &amp; </a:t>
            </a:r>
            <a:r>
              <a:rPr lang="en-US" sz="1200" dirty="0" err="1">
                <a:solidFill>
                  <a:schemeClr val="accent2"/>
                </a:solidFill>
                <a:latin typeface="Andale Mono" charset="0"/>
                <a:ea typeface="Andale Mono" charset="0"/>
                <a:cs typeface="Andale Mono" charset="0"/>
              </a:rPr>
              <a:t>Niessen-Ruenzi</a:t>
            </a:r>
            <a:r>
              <a:rPr lang="en-US" sz="1200" dirty="0">
                <a:solidFill>
                  <a:schemeClr val="accent2"/>
                </a:solidFill>
                <a:latin typeface="Andale Mono" charset="0"/>
                <a:ea typeface="Andale Mono" charset="0"/>
                <a:cs typeface="Andale Mono" charset="0"/>
              </a:rPr>
              <a:t> (2014)</a:t>
            </a:r>
          </a:p>
        </p:txBody>
      </p:sp>
    </p:spTree>
    <p:extLst>
      <p:ext uri="{BB962C8B-B14F-4D97-AF65-F5344CB8AC3E}">
        <p14:creationId xmlns:p14="http://schemas.microsoft.com/office/powerpoint/2010/main" val="40816152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aradox:</a:t>
            </a:r>
            <a:br>
              <a:rPr lang="en-GB" dirty="0"/>
            </a:br>
            <a:r>
              <a:rPr lang="en-GB" dirty="0"/>
              <a:t>Humans perceive a Negative Relationship 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Risk is not just perceived as variance, Hoffart, Jarecki, Rieskamp, 21. Nov 2017</a:t>
            </a:r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GB" smtClean="0"/>
              <a:t>University of Basel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431800" y="4977196"/>
            <a:ext cx="4068763" cy="1836180"/>
          </a:xfrm>
        </p:spPr>
        <p:txBody>
          <a:bodyPr/>
          <a:lstStyle/>
          <a:p>
            <a:r>
              <a:rPr lang="en-GB" b="1" dirty="0" smtClean="0"/>
              <a:t>True </a:t>
            </a:r>
            <a:r>
              <a:rPr lang="en-GB" b="1" dirty="0"/>
              <a:t>r</a:t>
            </a:r>
            <a:r>
              <a:rPr lang="en-GB" b="1" dirty="0" smtClean="0"/>
              <a:t>elationship</a:t>
            </a:r>
          </a:p>
          <a:p>
            <a:r>
              <a:rPr lang="en-GB" b="1" dirty="0" smtClean="0"/>
              <a:t>between risk (variance) and return. </a:t>
            </a:r>
            <a:endParaRPr lang="en-GB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6"/>
          </p:nvPr>
        </p:nvSpPr>
        <p:spPr>
          <a:xfrm>
            <a:off x="4643437" y="4977196"/>
            <a:ext cx="4068763" cy="1836180"/>
          </a:xfrm>
        </p:spPr>
        <p:txBody>
          <a:bodyPr/>
          <a:lstStyle/>
          <a:p>
            <a:r>
              <a:rPr lang="en-GB" b="1" dirty="0" smtClean="0"/>
              <a:t>Perceived relationship</a:t>
            </a:r>
          </a:p>
          <a:p>
            <a:r>
              <a:rPr lang="en-GB" b="1" dirty="0" smtClean="0"/>
              <a:t>between risk (variance) and return.</a:t>
            </a:r>
            <a:endParaRPr lang="en-GB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/>
      </p:sp>
      <p:pic>
        <p:nvPicPr>
          <p:cNvPr id="13" name="Bild 44"/>
          <p:cNvPicPr>
            <a:picLocks noChangeAspect="1"/>
          </p:cNvPicPr>
          <p:nvPr/>
        </p:nvPicPr>
        <p:blipFill rotWithShape="1">
          <a:blip r:embed="rId2"/>
          <a:srcRect t="17769"/>
          <a:stretch/>
        </p:blipFill>
        <p:spPr>
          <a:xfrm>
            <a:off x="5201066" y="1556792"/>
            <a:ext cx="3132893" cy="2664296"/>
          </a:xfrm>
          <a:prstGeom prst="rect">
            <a:avLst/>
          </a:prstGeom>
        </p:spPr>
      </p:pic>
      <p:pic>
        <p:nvPicPr>
          <p:cNvPr id="14" name="Bild 43"/>
          <p:cNvPicPr>
            <a:picLocks noChangeAspect="1"/>
          </p:cNvPicPr>
          <p:nvPr/>
        </p:nvPicPr>
        <p:blipFill rotWithShape="1">
          <a:blip r:embed="rId3"/>
          <a:srcRect t="15044"/>
          <a:stretch/>
        </p:blipFill>
        <p:spPr>
          <a:xfrm>
            <a:off x="665141" y="1484784"/>
            <a:ext cx="3237322" cy="2844316"/>
          </a:xfrm>
          <a:prstGeom prst="rect">
            <a:avLst/>
          </a:prstGeom>
        </p:spPr>
      </p:pic>
      <p:sp>
        <p:nvSpPr>
          <p:cNvPr id="15" name="Inhaltsplatzhalter 2"/>
          <p:cNvSpPr txBox="1">
            <a:spLocks/>
          </p:cNvSpPr>
          <p:nvPr/>
        </p:nvSpPr>
        <p:spPr>
          <a:xfrm>
            <a:off x="161546" y="1520788"/>
            <a:ext cx="539599" cy="2448272"/>
          </a:xfrm>
          <a:prstGeom prst="rect">
            <a:avLst/>
          </a:prstGeom>
        </p:spPr>
        <p:txBody>
          <a:bodyPr vert="vert270"/>
          <a:lstStyle>
            <a:lvl1pPr mar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mtClean="0"/>
              <a:t>Risk</a:t>
            </a:r>
          </a:p>
          <a:p>
            <a:pPr algn="ctr"/>
            <a:r>
              <a:rPr lang="en-US" smtClean="0"/>
              <a:t>(=Variance)</a:t>
            </a:r>
            <a:endParaRPr lang="en-US" dirty="0"/>
          </a:p>
        </p:txBody>
      </p:sp>
      <p:cxnSp>
        <p:nvCxnSpPr>
          <p:cNvPr id="16" name="Gerade Verbindung 7"/>
          <p:cNvCxnSpPr/>
          <p:nvPr/>
        </p:nvCxnSpPr>
        <p:spPr>
          <a:xfrm>
            <a:off x="845162" y="1520788"/>
            <a:ext cx="0" cy="2448272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9"/>
          <p:cNvCxnSpPr/>
          <p:nvPr/>
        </p:nvCxnSpPr>
        <p:spPr>
          <a:xfrm>
            <a:off x="845162" y="3969060"/>
            <a:ext cx="309634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Inhaltsplatzhalter 2"/>
          <p:cNvSpPr txBox="1">
            <a:spLocks/>
          </p:cNvSpPr>
          <p:nvPr/>
        </p:nvSpPr>
        <p:spPr>
          <a:xfrm rot="5400000">
            <a:off x="2105302" y="2816935"/>
            <a:ext cx="576062" cy="3096346"/>
          </a:xfrm>
          <a:prstGeom prst="rect">
            <a:avLst/>
          </a:prstGeom>
        </p:spPr>
        <p:txBody>
          <a:bodyPr vert="vert270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1pPr>
            <a:lvl2pPr marL="18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2pPr>
            <a:lvl3pPr marL="36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3pPr>
            <a:lvl4pPr marL="54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4pPr>
            <a:lvl5pPr marL="72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$	   $$	      $$$	</a:t>
            </a:r>
            <a:endParaRPr lang="en-US" dirty="0"/>
          </a:p>
          <a:p>
            <a:pPr algn="ctr"/>
            <a:r>
              <a:rPr lang="en-US" dirty="0" smtClean="0"/>
              <a:t>Return</a:t>
            </a:r>
            <a:endParaRPr lang="en-US" dirty="0"/>
          </a:p>
        </p:txBody>
      </p:sp>
      <p:sp>
        <p:nvSpPr>
          <p:cNvPr id="19" name="Inhaltsplatzhalter 2"/>
          <p:cNvSpPr txBox="1">
            <a:spLocks/>
          </p:cNvSpPr>
          <p:nvPr/>
        </p:nvSpPr>
        <p:spPr>
          <a:xfrm>
            <a:off x="4609274" y="1520788"/>
            <a:ext cx="539599" cy="2448272"/>
          </a:xfrm>
          <a:prstGeom prst="rect">
            <a:avLst/>
          </a:prstGeom>
        </p:spPr>
        <p:txBody>
          <a:bodyPr vert="vert270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1pPr>
            <a:lvl2pPr marL="18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2pPr>
            <a:lvl3pPr marL="36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3pPr>
            <a:lvl4pPr marL="54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4pPr>
            <a:lvl5pPr marL="72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smtClean="0"/>
              <a:t>Risk</a:t>
            </a:r>
          </a:p>
          <a:p>
            <a:pPr algn="ctr"/>
            <a:r>
              <a:rPr lang="en-US" dirty="0" smtClean="0"/>
              <a:t>(=Variance)</a:t>
            </a:r>
            <a:endParaRPr lang="en-US" dirty="0"/>
          </a:p>
        </p:txBody>
      </p:sp>
      <p:cxnSp>
        <p:nvCxnSpPr>
          <p:cNvPr id="20" name="Gerade Verbindung 23"/>
          <p:cNvCxnSpPr/>
          <p:nvPr/>
        </p:nvCxnSpPr>
        <p:spPr>
          <a:xfrm>
            <a:off x="5292890" y="1520788"/>
            <a:ext cx="0" cy="2448272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4"/>
          <p:cNvCxnSpPr/>
          <p:nvPr/>
        </p:nvCxnSpPr>
        <p:spPr>
          <a:xfrm>
            <a:off x="5292890" y="3969060"/>
            <a:ext cx="309634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Inhaltsplatzhalter 2"/>
          <p:cNvSpPr txBox="1">
            <a:spLocks/>
          </p:cNvSpPr>
          <p:nvPr/>
        </p:nvSpPr>
        <p:spPr>
          <a:xfrm rot="5400000">
            <a:off x="6445247" y="2925175"/>
            <a:ext cx="791631" cy="3096346"/>
          </a:xfrm>
          <a:prstGeom prst="rect">
            <a:avLst/>
          </a:prstGeom>
        </p:spPr>
        <p:txBody>
          <a:bodyPr vert="vert270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1pPr>
            <a:lvl2pPr marL="18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2pPr>
            <a:lvl3pPr marL="36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3pPr>
            <a:lvl4pPr marL="54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4pPr>
            <a:lvl5pPr marL="72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$	   $$	      $$$	</a:t>
            </a:r>
          </a:p>
          <a:p>
            <a:pPr algn="ctr"/>
            <a:r>
              <a:rPr lang="en-US" dirty="0"/>
              <a:t>Return</a:t>
            </a:r>
          </a:p>
        </p:txBody>
      </p:sp>
      <p:sp>
        <p:nvSpPr>
          <p:cNvPr id="25" name="Rechteck 24"/>
          <p:cNvSpPr/>
          <p:nvPr/>
        </p:nvSpPr>
        <p:spPr>
          <a:xfrm>
            <a:off x="4112120" y="2408878"/>
            <a:ext cx="385042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600" b="1" dirty="0" smtClean="0">
                <a:latin typeface="Andale Mono" charset="0"/>
                <a:ea typeface="Andale Mono" charset="0"/>
                <a:cs typeface="Andale Mono" charset="0"/>
              </a:rPr>
              <a:t>≠</a:t>
            </a:r>
            <a:endParaRPr lang="en-US" sz="2600" dirty="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27" name="Rechteck 26"/>
          <p:cNvSpPr/>
          <p:nvPr/>
        </p:nvSpPr>
        <p:spPr>
          <a:xfrm>
            <a:off x="4572000" y="6078727"/>
            <a:ext cx="4572000" cy="37446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>
              <a:lnSpc>
                <a:spcPts val="2200"/>
              </a:lnSpc>
            </a:pPr>
            <a:r>
              <a:rPr lang="en-US" sz="1200" dirty="0">
                <a:solidFill>
                  <a:schemeClr val="accent2"/>
                </a:solidFill>
                <a:latin typeface="Andale Mono" charset="0"/>
                <a:ea typeface="Andale Mono" charset="0"/>
                <a:cs typeface="Andale Mono" charset="0"/>
              </a:rPr>
              <a:t>e.g., </a:t>
            </a:r>
            <a:r>
              <a:rPr lang="en-US" sz="1200" dirty="0" err="1">
                <a:solidFill>
                  <a:schemeClr val="accent2"/>
                </a:solidFill>
                <a:latin typeface="Andale Mono" charset="0"/>
                <a:ea typeface="Andale Mono" charset="0"/>
                <a:cs typeface="Andale Mono" charset="0"/>
              </a:rPr>
              <a:t>Kempf</a:t>
            </a:r>
            <a:r>
              <a:rPr lang="en-US" sz="1200" dirty="0">
                <a:solidFill>
                  <a:schemeClr val="accent2"/>
                </a:solidFill>
                <a:latin typeface="Andale Mono" charset="0"/>
                <a:ea typeface="Andale Mono" charset="0"/>
                <a:cs typeface="Andale Mono" charset="0"/>
              </a:rPr>
              <a:t>, </a:t>
            </a:r>
            <a:r>
              <a:rPr lang="en-US" sz="1200" dirty="0" err="1">
                <a:solidFill>
                  <a:schemeClr val="accent2"/>
                </a:solidFill>
                <a:latin typeface="Andale Mono" charset="0"/>
                <a:ea typeface="Andale Mono" charset="0"/>
                <a:cs typeface="Andale Mono" charset="0"/>
              </a:rPr>
              <a:t>Merkle</a:t>
            </a:r>
            <a:r>
              <a:rPr lang="en-US" sz="1200" dirty="0">
                <a:solidFill>
                  <a:schemeClr val="accent2"/>
                </a:solidFill>
                <a:latin typeface="Andale Mono" charset="0"/>
                <a:ea typeface="Andale Mono" charset="0"/>
                <a:cs typeface="Andale Mono" charset="0"/>
              </a:rPr>
              <a:t> &amp; </a:t>
            </a:r>
            <a:r>
              <a:rPr lang="en-US" sz="1200" dirty="0" err="1">
                <a:solidFill>
                  <a:schemeClr val="accent2"/>
                </a:solidFill>
                <a:latin typeface="Andale Mono" charset="0"/>
                <a:ea typeface="Andale Mono" charset="0"/>
                <a:cs typeface="Andale Mono" charset="0"/>
              </a:rPr>
              <a:t>Niessen-Ruenzi</a:t>
            </a:r>
            <a:r>
              <a:rPr lang="en-US" sz="1200" dirty="0">
                <a:solidFill>
                  <a:schemeClr val="accent2"/>
                </a:solidFill>
                <a:latin typeface="Andale Mono" charset="0"/>
                <a:ea typeface="Andale Mono" charset="0"/>
                <a:cs typeface="Andale Mono" charset="0"/>
              </a:rPr>
              <a:t> (2014)</a:t>
            </a:r>
          </a:p>
        </p:txBody>
      </p:sp>
    </p:spTree>
    <p:extLst>
      <p:ext uri="{BB962C8B-B14F-4D97-AF65-F5344CB8AC3E}">
        <p14:creationId xmlns:p14="http://schemas.microsoft.com/office/powerpoint/2010/main" val="36484802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/>
      <p:bldP spid="1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 smtClean="0"/>
              <a:t>Question</a:t>
            </a:r>
            <a:r>
              <a:rPr lang="de-CH" dirty="0" smtClean="0"/>
              <a:t>:</a:t>
            </a:r>
            <a:br>
              <a:rPr lang="de-CH" dirty="0" smtClean="0"/>
            </a:br>
            <a:r>
              <a:rPr lang="de-CH" dirty="0" smtClean="0"/>
              <a:t>Do </a:t>
            </a:r>
            <a:r>
              <a:rPr lang="de-CH" dirty="0" err="1" smtClean="0"/>
              <a:t>humans</a:t>
            </a:r>
            <a:r>
              <a:rPr lang="de-CH" dirty="0" smtClean="0"/>
              <a:t> </a:t>
            </a:r>
            <a:r>
              <a:rPr lang="de-CH" dirty="0" err="1" smtClean="0"/>
              <a:t>perceive</a:t>
            </a:r>
            <a:r>
              <a:rPr lang="de-CH" dirty="0" smtClean="0"/>
              <a:t> </a:t>
            </a:r>
            <a:r>
              <a:rPr lang="de-CH" dirty="0" err="1" smtClean="0"/>
              <a:t>risks</a:t>
            </a:r>
            <a:r>
              <a:rPr lang="de-CH" dirty="0" smtClean="0"/>
              <a:t> </a:t>
            </a:r>
            <a:r>
              <a:rPr lang="de-CH" dirty="0" err="1" smtClean="0"/>
              <a:t>as</a:t>
            </a:r>
            <a:r>
              <a:rPr lang="de-CH" dirty="0" smtClean="0"/>
              <a:t> </a:t>
            </a:r>
            <a:r>
              <a:rPr lang="de-CH" dirty="0" err="1" smtClean="0"/>
              <a:t>costs</a:t>
            </a:r>
            <a:r>
              <a:rPr lang="de-CH" dirty="0" smtClean="0"/>
              <a:t>?</a:t>
            </a:r>
            <a:endParaRPr lang="de-CH" dirty="0"/>
          </a:p>
        </p:txBody>
      </p:sp>
      <p:sp>
        <p:nvSpPr>
          <p:cNvPr id="11" name="Inhaltsplatzhalter 1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Risk is not just perceived as variance, Hoffart, Jarecki, Rieskamp, 21. Nov 2017</a:t>
            </a:r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GB" smtClean="0"/>
              <a:t>University of Basel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2148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Task:</a:t>
            </a:r>
            <a:br>
              <a:rPr lang="de-CH" dirty="0" smtClean="0"/>
            </a:br>
            <a:r>
              <a:rPr lang="de-CH" dirty="0" err="1" smtClean="0"/>
              <a:t>Judge</a:t>
            </a:r>
            <a:r>
              <a:rPr lang="de-CH" dirty="0" smtClean="0"/>
              <a:t> </a:t>
            </a:r>
            <a:r>
              <a:rPr lang="de-CH" dirty="0" err="1" smtClean="0"/>
              <a:t>the</a:t>
            </a:r>
            <a:r>
              <a:rPr lang="de-CH" dirty="0" smtClean="0"/>
              <a:t> </a:t>
            </a:r>
            <a:r>
              <a:rPr lang="de-CH" dirty="0" err="1" smtClean="0"/>
              <a:t>riskiness</a:t>
            </a:r>
            <a:r>
              <a:rPr lang="de-CH" dirty="0" smtClean="0"/>
              <a:t> </a:t>
            </a:r>
            <a:r>
              <a:rPr lang="de-CH" dirty="0" err="1" smtClean="0"/>
              <a:t>of</a:t>
            </a:r>
            <a:r>
              <a:rPr lang="de-CH" dirty="0" smtClean="0"/>
              <a:t> </a:t>
            </a:r>
            <a:r>
              <a:rPr lang="de-CH" dirty="0" err="1" smtClean="0"/>
              <a:t>several</a:t>
            </a:r>
            <a:r>
              <a:rPr lang="de-CH" dirty="0" smtClean="0"/>
              <a:t> real-</a:t>
            </a:r>
            <a:r>
              <a:rPr lang="de-CH" dirty="0" err="1" smtClean="0"/>
              <a:t>world</a:t>
            </a:r>
            <a:r>
              <a:rPr lang="de-CH" dirty="0" smtClean="0"/>
              <a:t> stock </a:t>
            </a:r>
            <a:r>
              <a:rPr lang="de-CH" dirty="0" err="1" smtClean="0"/>
              <a:t>courses</a:t>
            </a:r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Risk is not just perceived as variance, Hoffart, Jarecki, Rieskamp, 21. Nov 2017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GB" smtClean="0"/>
              <a:t>University of Basel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CH" dirty="0" smtClean="0"/>
              <a:t>Study design</a:t>
            </a:r>
          </a:p>
          <a:p>
            <a:endParaRPr lang="de-CH" dirty="0"/>
          </a:p>
          <a:p>
            <a:r>
              <a:rPr lang="en-US" i="1" dirty="0"/>
              <a:t>“How </a:t>
            </a:r>
            <a:r>
              <a:rPr lang="en-US" b="1" i="1" dirty="0"/>
              <a:t>risky</a:t>
            </a:r>
            <a:r>
              <a:rPr lang="en-US" i="1" dirty="0"/>
              <a:t> is it to invest in this </a:t>
            </a:r>
            <a:r>
              <a:rPr lang="en-US" i="1" dirty="0" smtClean="0"/>
              <a:t>stock?”</a:t>
            </a:r>
          </a:p>
          <a:p>
            <a:endParaRPr lang="en-US" i="1" dirty="0"/>
          </a:p>
          <a:p>
            <a:r>
              <a:rPr lang="en-US" i="1" dirty="0" smtClean="0"/>
              <a:t>19 real-world stock developments</a:t>
            </a:r>
          </a:p>
          <a:p>
            <a:endParaRPr lang="en-US" i="1" dirty="0"/>
          </a:p>
          <a:p>
            <a:r>
              <a:rPr lang="en-US" i="1" dirty="0" smtClean="0"/>
              <a:t>True returns only shown graphically</a:t>
            </a:r>
          </a:p>
        </p:txBody>
      </p:sp>
      <p:pic>
        <p:nvPicPr>
          <p:cNvPr id="23" name="Bildplatzhalter 22"/>
          <p:cNvPicPr>
            <a:picLocks noGrp="1"/>
          </p:cNvPicPr>
          <p:nvPr>
            <p:ph type="pic" sz="quarter" idx="13"/>
          </p:nvPr>
        </p:nvPicPr>
        <p:blipFill rotWithShape="1">
          <a:blip r:embed="rId2"/>
          <a:srcRect l="15044" t="11819" r="62790" b="42722"/>
          <a:stretch/>
        </p:blipFill>
        <p:spPr bwMode="auto">
          <a:xfrm>
            <a:off x="539551" y="1520824"/>
            <a:ext cx="5672733" cy="363636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310440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Design:</a:t>
            </a:r>
            <a:br>
              <a:rPr lang="de-CH" dirty="0" smtClean="0"/>
            </a:br>
            <a:r>
              <a:rPr lang="de-CH" dirty="0" err="1" smtClean="0"/>
              <a:t>Within-subject</a:t>
            </a:r>
            <a:r>
              <a:rPr lang="de-CH" dirty="0" smtClean="0"/>
              <a:t> </a:t>
            </a:r>
            <a:r>
              <a:rPr lang="de-CH" dirty="0" err="1" smtClean="0"/>
              <a:t>manipulation</a:t>
            </a:r>
            <a:r>
              <a:rPr lang="de-CH" dirty="0" smtClean="0"/>
              <a:t> </a:t>
            </a:r>
            <a:r>
              <a:rPr lang="de-CH" dirty="0" err="1" smtClean="0"/>
              <a:t>of</a:t>
            </a:r>
            <a:r>
              <a:rPr lang="de-CH" dirty="0" smtClean="0"/>
              <a:t> </a:t>
            </a:r>
            <a:r>
              <a:rPr lang="de-CH" dirty="0" err="1" smtClean="0"/>
              <a:t>risk</a:t>
            </a:r>
            <a:r>
              <a:rPr lang="de-CH" dirty="0" smtClean="0"/>
              <a:t> </a:t>
            </a:r>
            <a:r>
              <a:rPr lang="de-CH" dirty="0" err="1" smtClean="0"/>
              <a:t>terminology</a:t>
            </a:r>
            <a:endParaRPr lang="de-CH" dirty="0"/>
          </a:p>
        </p:txBody>
      </p:sp>
      <p:sp>
        <p:nvSpPr>
          <p:cNvPr id="8" name="Inhaltsplatzhalt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/>
            <a:r>
              <a:rPr lang="en-US" i="1" dirty="0"/>
              <a:t>“How </a:t>
            </a:r>
            <a:r>
              <a:rPr lang="en-US" b="1" i="1" dirty="0"/>
              <a:t>risky</a:t>
            </a:r>
            <a:r>
              <a:rPr lang="en-US" i="1" dirty="0"/>
              <a:t> is it to invest in </a:t>
            </a:r>
            <a:r>
              <a:rPr lang="en-US" i="1" dirty="0" smtClean="0"/>
              <a:t>this stock?”</a:t>
            </a:r>
          </a:p>
          <a:p>
            <a:pPr algn="ctr"/>
            <a:endParaRPr lang="en-US" i="1" dirty="0"/>
          </a:p>
          <a:p>
            <a:pPr lvl="0" algn="ctr"/>
            <a:r>
              <a:rPr lang="en-US" i="1" dirty="0"/>
              <a:t>“How </a:t>
            </a:r>
            <a:r>
              <a:rPr lang="en-US" b="1" i="1" dirty="0">
                <a:solidFill>
                  <a:schemeClr val="accent2"/>
                </a:solidFill>
              </a:rPr>
              <a:t>predictable</a:t>
            </a:r>
            <a:r>
              <a:rPr lang="en-US" i="1" dirty="0"/>
              <a:t> is the </a:t>
            </a:r>
            <a:r>
              <a:rPr lang="en-US" i="1" dirty="0" smtClean="0"/>
              <a:t>return trajectory of this stock?”</a:t>
            </a:r>
          </a:p>
          <a:p>
            <a:pPr lvl="0" algn="ctr"/>
            <a:endParaRPr lang="en-US" i="1" dirty="0"/>
          </a:p>
          <a:p>
            <a:pPr algn="ctr"/>
            <a:r>
              <a:rPr lang="en-US" i="1" dirty="0" smtClean="0"/>
              <a:t>“</a:t>
            </a:r>
            <a:r>
              <a:rPr lang="en-US" i="1" dirty="0"/>
              <a:t>How </a:t>
            </a:r>
            <a:r>
              <a:rPr lang="en-US" b="1" i="1" dirty="0">
                <a:solidFill>
                  <a:schemeClr val="accent2"/>
                </a:solidFill>
              </a:rPr>
              <a:t>variable</a:t>
            </a:r>
            <a:r>
              <a:rPr lang="en-US" i="1" dirty="0"/>
              <a:t> is the </a:t>
            </a:r>
            <a:r>
              <a:rPr lang="en-US" i="1" dirty="0" smtClean="0"/>
              <a:t>return trajectory </a:t>
            </a:r>
            <a:r>
              <a:rPr lang="en-US" i="1" dirty="0"/>
              <a:t>of this stock</a:t>
            </a:r>
            <a:r>
              <a:rPr lang="en-US" i="1" dirty="0" smtClean="0"/>
              <a:t>?”</a:t>
            </a:r>
          </a:p>
          <a:p>
            <a:pPr lvl="0" algn="ctr"/>
            <a:endParaRPr lang="en-US" i="1" dirty="0" smtClean="0"/>
          </a:p>
          <a:p>
            <a:pPr lvl="0" algn="ctr"/>
            <a:r>
              <a:rPr lang="en-US" i="1" dirty="0" smtClean="0"/>
              <a:t>“How much does the return </a:t>
            </a:r>
            <a:r>
              <a:rPr lang="en-US" b="1" i="1" dirty="0" smtClean="0">
                <a:solidFill>
                  <a:schemeClr val="accent2"/>
                </a:solidFill>
              </a:rPr>
              <a:t>fluctuate</a:t>
            </a:r>
            <a:r>
              <a:rPr lang="en-US" i="1" dirty="0" smtClean="0"/>
              <a:t> for the stock?”</a:t>
            </a:r>
          </a:p>
          <a:p>
            <a:pPr lvl="0" algn="ctr"/>
            <a:endParaRPr lang="en-US" i="1" dirty="0" smtClean="0"/>
          </a:p>
          <a:p>
            <a:pPr lvl="0" algn="ctr"/>
            <a:r>
              <a:rPr lang="en-US" i="1" dirty="0" smtClean="0"/>
              <a:t>“How high is the </a:t>
            </a:r>
            <a:r>
              <a:rPr lang="en-US" b="1" i="1" dirty="0" smtClean="0">
                <a:solidFill>
                  <a:schemeClr val="accent2"/>
                </a:solidFill>
              </a:rPr>
              <a:t>return</a:t>
            </a:r>
            <a:r>
              <a:rPr lang="en-US" i="1" dirty="0" smtClean="0"/>
              <a:t>?”</a:t>
            </a:r>
          </a:p>
          <a:p>
            <a:pPr lvl="0" algn="ctr"/>
            <a:endParaRPr lang="en-US" i="1" dirty="0"/>
          </a:p>
          <a:p>
            <a:pPr lvl="0" algn="ctr"/>
            <a:r>
              <a:rPr lang="en-US" i="1" dirty="0" smtClean="0"/>
              <a:t>“How high is the expected </a:t>
            </a:r>
            <a:r>
              <a:rPr lang="en-US" b="1" i="1" dirty="0" smtClean="0">
                <a:solidFill>
                  <a:schemeClr val="accent2"/>
                </a:solidFill>
              </a:rPr>
              <a:t>loss</a:t>
            </a:r>
            <a:r>
              <a:rPr lang="en-US" i="1" dirty="0" smtClean="0"/>
              <a:t>?”</a:t>
            </a:r>
          </a:p>
          <a:p>
            <a:pPr marL="342900" lvl="0" indent="-342900">
              <a:buFont typeface="+mj-lt"/>
              <a:buAutoNum type="arabicPeriod"/>
            </a:pPr>
            <a:endParaRPr lang="en-US" i="1" dirty="0"/>
          </a:p>
          <a:p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Risk is not just perceived as variance, Hoffart, Jarecki, Rieskamp, 21. Nov 2017</a:t>
            </a:r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GB" smtClean="0"/>
              <a:t>University of Basel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60274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 smtClean="0"/>
              <a:t>Question</a:t>
            </a:r>
            <a:r>
              <a:rPr lang="de-CH" dirty="0" smtClean="0"/>
              <a:t>: </a:t>
            </a:r>
            <a:r>
              <a:rPr lang="de-CH" dirty="0" err="1" smtClean="0"/>
              <a:t>Which</a:t>
            </a:r>
            <a:r>
              <a:rPr lang="de-CH" dirty="0" smtClean="0"/>
              <a:t> </a:t>
            </a:r>
            <a:r>
              <a:rPr lang="de-CH" dirty="0" err="1" smtClean="0"/>
              <a:t>risk</a:t>
            </a:r>
            <a:r>
              <a:rPr lang="de-CH" dirty="0" smtClean="0"/>
              <a:t> </a:t>
            </a:r>
            <a:r>
              <a:rPr lang="de-CH" dirty="0" err="1" smtClean="0"/>
              <a:t>terminology</a:t>
            </a:r>
            <a:r>
              <a:rPr lang="de-CH" dirty="0" smtClean="0"/>
              <a:t> </a:t>
            </a:r>
            <a:r>
              <a:rPr lang="de-CH" dirty="0" err="1" smtClean="0"/>
              <a:t>allows</a:t>
            </a:r>
            <a:r>
              <a:rPr lang="de-CH" dirty="0" smtClean="0"/>
              <a:t> </a:t>
            </a:r>
            <a:r>
              <a:rPr lang="de-CH" dirty="0" err="1" smtClean="0"/>
              <a:t>people</a:t>
            </a:r>
            <a:r>
              <a:rPr lang="de-CH" dirty="0" smtClean="0"/>
              <a:t> </a:t>
            </a:r>
            <a:r>
              <a:rPr lang="de-CH" dirty="0" err="1" smtClean="0"/>
              <a:t>to</a:t>
            </a:r>
            <a:r>
              <a:rPr lang="de-CH" dirty="0" smtClean="0"/>
              <a:t> </a:t>
            </a:r>
            <a:r>
              <a:rPr lang="de-CH" dirty="0" err="1" smtClean="0"/>
              <a:t>judge</a:t>
            </a:r>
            <a:r>
              <a:rPr lang="de-CH" dirty="0" smtClean="0"/>
              <a:t> </a:t>
            </a:r>
            <a:r>
              <a:rPr lang="de-CH" dirty="0" err="1" smtClean="0"/>
              <a:t>the</a:t>
            </a:r>
            <a:r>
              <a:rPr lang="de-CH" dirty="0" smtClean="0"/>
              <a:t> </a:t>
            </a:r>
            <a:r>
              <a:rPr lang="de-CH" dirty="0" err="1" smtClean="0"/>
              <a:t>true</a:t>
            </a:r>
            <a:r>
              <a:rPr lang="de-CH" dirty="0" smtClean="0"/>
              <a:t> </a:t>
            </a:r>
            <a:r>
              <a:rPr lang="de-CH" dirty="0" err="1" smtClean="0"/>
              <a:t>variance</a:t>
            </a:r>
            <a:r>
              <a:rPr lang="de-CH" dirty="0" smtClean="0"/>
              <a:t> </a:t>
            </a:r>
            <a:r>
              <a:rPr lang="de-CH" dirty="0" err="1" smtClean="0"/>
              <a:t>accurately</a:t>
            </a:r>
            <a:r>
              <a:rPr lang="de-CH" dirty="0" smtClean="0"/>
              <a:t>?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Risk is not just perceived as variance, Hoffart, Jarecki, Rieskamp, 21. Nov 2017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GB" smtClean="0"/>
              <a:t>University of Basel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1684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i="1" dirty="0"/>
              <a:t>“How </a:t>
            </a:r>
            <a:r>
              <a:rPr lang="en-US" i="1" dirty="0">
                <a:solidFill>
                  <a:schemeClr val="accent2"/>
                </a:solidFill>
              </a:rPr>
              <a:t>risky</a:t>
            </a:r>
            <a:r>
              <a:rPr lang="en-US" i="1" dirty="0"/>
              <a:t> is it to invest in this stock?”</a:t>
            </a:r>
            <a:br>
              <a:rPr lang="en-US" i="1" dirty="0"/>
            </a:br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Risk is not just perceived as variance, Hoffart, Jarecki, Rieskamp, 21. Nov 2017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GB" smtClean="0"/>
              <a:t>University of Basel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en-GB" smtClean="0"/>
              <a:pPr/>
              <a:t>9</a:t>
            </a:fld>
            <a:endParaRPr lang="en-GB" dirty="0"/>
          </a:p>
        </p:txBody>
      </p:sp>
      <p:pic>
        <p:nvPicPr>
          <p:cNvPr id="10" name="Bild 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628"/>
          <a:stretch/>
        </p:blipFill>
        <p:spPr>
          <a:xfrm>
            <a:off x="-36512" y="1412776"/>
            <a:ext cx="2160240" cy="2332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6502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Larissa">
  <a:themeElements>
    <a:clrScheme name="Uni Basel">
      <a:dk1>
        <a:srgbClr val="000000"/>
      </a:dk1>
      <a:lt1>
        <a:srgbClr val="FFFFFF"/>
      </a:lt1>
      <a:dk2>
        <a:srgbClr val="006E6E"/>
      </a:dk2>
      <a:lt2>
        <a:srgbClr val="BEC3C8"/>
      </a:lt2>
      <a:accent1>
        <a:srgbClr val="A5D7D2"/>
      </a:accent1>
      <a:accent2>
        <a:srgbClr val="1EA5A5"/>
      </a:accent2>
      <a:accent3>
        <a:srgbClr val="2D373C"/>
      </a:accent3>
      <a:accent4>
        <a:srgbClr val="8C9196"/>
      </a:accent4>
      <a:accent5>
        <a:srgbClr val="D20537"/>
      </a:accent5>
      <a:accent6>
        <a:srgbClr val="EB829B"/>
      </a:accent6>
      <a:hlink>
        <a:srgbClr val="000000"/>
      </a:hlink>
      <a:folHlink>
        <a:srgbClr val="000000"/>
      </a:folHlink>
    </a:clrScheme>
    <a:fontScheme name="Uni Basel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2200"/>
          </a:lnSpc>
          <a:defRPr dirty="0"/>
        </a:defPPr>
      </a:lstStyle>
    </a:txDef>
  </a:objectDefaults>
  <a:extraClrSchemeLst>
    <a:extraClrScheme>
      <a:clrScheme name="Uni Basel">
        <a:dk1>
          <a:srgbClr val="000000"/>
        </a:dk1>
        <a:lt1>
          <a:srgbClr val="FFFFFF"/>
        </a:lt1>
        <a:dk2>
          <a:srgbClr val="006E6E"/>
        </a:dk2>
        <a:lt2>
          <a:srgbClr val="BEC3C8"/>
        </a:lt2>
        <a:accent1>
          <a:srgbClr val="A5D7D2"/>
        </a:accent1>
        <a:accent2>
          <a:srgbClr val="1EA5A5"/>
        </a:accent2>
        <a:accent3>
          <a:srgbClr val="2D373C"/>
        </a:accent3>
        <a:accent4>
          <a:srgbClr val="8C9196"/>
        </a:accent4>
        <a:accent5>
          <a:srgbClr val="D20537"/>
        </a:accent5>
        <a:accent6>
          <a:srgbClr val="EB829B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entation</Template>
  <TotalTime>0</TotalTime>
  <Words>743</Words>
  <Application>Microsoft Office PowerPoint</Application>
  <PresentationFormat>Bildschirmpräsentation (4:3)</PresentationFormat>
  <Paragraphs>146</Paragraphs>
  <Slides>19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5" baseType="lpstr">
      <vt:lpstr>Yu Gothic UI Light</vt:lpstr>
      <vt:lpstr>Andale Mono</vt:lpstr>
      <vt:lpstr>Arial</vt:lpstr>
      <vt:lpstr>Calibri</vt:lpstr>
      <vt:lpstr>Georgia</vt:lpstr>
      <vt:lpstr>Larissa</vt:lpstr>
      <vt:lpstr>Risk is not  just perceived as variance </vt:lpstr>
      <vt:lpstr>Observation: Risk/Variance and Return tend to be Positively Related</vt:lpstr>
      <vt:lpstr>Paradox: When asked to judge the risk of investment options</vt:lpstr>
      <vt:lpstr>Paradox: Humans perceive a Negative Relationship </vt:lpstr>
      <vt:lpstr>Question: Do humans perceive risks as costs?</vt:lpstr>
      <vt:lpstr>Task: Judge the riskiness of several real-world stock courses</vt:lpstr>
      <vt:lpstr>Design: Within-subject manipulation of risk terminology</vt:lpstr>
      <vt:lpstr>Question: Which risk terminology allows people to judge the true variance accurately?</vt:lpstr>
      <vt:lpstr>“How risky is it to invest in this stock?” </vt:lpstr>
      <vt:lpstr>“How predictable is the return trajectory of this stock?”</vt:lpstr>
      <vt:lpstr>“How variable is the return trajectory of this stock?”</vt:lpstr>
      <vt:lpstr>“How much does the return fluctuate for the stock?” </vt:lpstr>
      <vt:lpstr>“How much does the return fluctuate for the stock?” </vt:lpstr>
      <vt:lpstr>Open-ended Question: «What does it mean for you if a stock has a high risk?»</vt:lpstr>
      <vt:lpstr>Paradoxes related to the perception of variance are driven by differing notions of «risk»</vt:lpstr>
      <vt:lpstr>Replication of results with international stocks</vt:lpstr>
      <vt:lpstr>Design: Within-subject manipulation of risk terminology</vt:lpstr>
      <vt:lpstr>Results: Replicated</vt:lpstr>
      <vt:lpstr>“Risk” is no uniform construct  Risk perceived as cost more than as variance  Fluctuation as a more accurate alternative given individuals possess basic knowledge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/chapter slide, title 1 Title 2</dc:title>
  <dc:creator>Jana Jarecki</dc:creator>
  <cp:lastModifiedBy>Jana Jarecki</cp:lastModifiedBy>
  <cp:revision>15</cp:revision>
  <dcterms:created xsi:type="dcterms:W3CDTF">2017-11-21T10:03:47Z</dcterms:created>
  <dcterms:modified xsi:type="dcterms:W3CDTF">2017-11-27T13:49:18Z</dcterms:modified>
</cp:coreProperties>
</file>